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5" r:id="rId5"/>
  </p:sldMasterIdLst>
  <p:notesMasterIdLst>
    <p:notesMasterId r:id="rId17"/>
  </p:notesMasterIdLst>
  <p:sldIdLst>
    <p:sldId id="292" r:id="rId6"/>
    <p:sldId id="314" r:id="rId7"/>
    <p:sldId id="298" r:id="rId8"/>
    <p:sldId id="303" r:id="rId9"/>
    <p:sldId id="306" r:id="rId10"/>
    <p:sldId id="307" r:id="rId11"/>
    <p:sldId id="300" r:id="rId12"/>
    <p:sldId id="4803" r:id="rId13"/>
    <p:sldId id="4804" r:id="rId14"/>
    <p:sldId id="315" r:id="rId15"/>
    <p:sldId id="312" r:id="rId16"/>
  </p:sldIdLst>
  <p:sldSz cx="12192000" cy="6858000"/>
  <p:notesSz cx="6858000" cy="9144000"/>
  <p:defaultTextStyle>
    <a:defPPr>
      <a:defRPr lang="nl-NL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9E880AD5-6798-72FE-3846-59E6B0B15480}" name="Jeroen Keeris" initials="JK" userId="S::jkeeris@rentcompany.nl::e80b97d4-d75f-45d1-aa67-a8cf23c8171a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8F0D"/>
    <a:srgbClr val="D7CAE7"/>
    <a:srgbClr val="102F44"/>
    <a:srgbClr val="775397"/>
    <a:srgbClr val="AA8FC2"/>
    <a:srgbClr val="C7760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5E7E3959-F0EA-4F73-AAD7-8CFD9EA47826}" v="74" dt="2025-06-23T09:26:23.46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485" autoAdjust="0"/>
    <p:restoredTop sz="89467" autoAdjust="0"/>
  </p:normalViewPr>
  <p:slideViewPr>
    <p:cSldViewPr snapToGrid="0">
      <p:cViewPr varScale="1">
        <p:scale>
          <a:sx n="100" d="100"/>
          <a:sy n="100" d="100"/>
        </p:scale>
        <p:origin x="224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23" Type="http://schemas.microsoft.com/office/2015/10/relationships/revisionInfo" Target="revisionInfo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ichiel Janssen" userId="eebde92b-6a93-4ea4-960e-97e8ecf65f44" providerId="ADAL" clId="{5E7E3959-F0EA-4F73-AAD7-8CFD9EA47826}"/>
    <pc:docChg chg="undo redo custSel addSld delSld modSld">
      <pc:chgData name="Michiel Janssen" userId="eebde92b-6a93-4ea4-960e-97e8ecf65f44" providerId="ADAL" clId="{5E7E3959-F0EA-4F73-AAD7-8CFD9EA47826}" dt="2025-06-23T09:26:23.464" v="150"/>
      <pc:docMkLst>
        <pc:docMk/>
      </pc:docMkLst>
      <pc:sldChg chg="addSp delSp modSp mod modAnim">
        <pc:chgData name="Michiel Janssen" userId="eebde92b-6a93-4ea4-960e-97e8ecf65f44" providerId="ADAL" clId="{5E7E3959-F0EA-4F73-AAD7-8CFD9EA47826}" dt="2025-06-23T09:18:46.450" v="129"/>
        <pc:sldMkLst>
          <pc:docMk/>
          <pc:sldMk cId="1172908404" sldId="298"/>
        </pc:sldMkLst>
        <pc:spChg chg="add">
          <ac:chgData name="Michiel Janssen" userId="eebde92b-6a93-4ea4-960e-97e8ecf65f44" providerId="ADAL" clId="{5E7E3959-F0EA-4F73-AAD7-8CFD9EA47826}" dt="2025-06-23T09:13:48.725" v="93"/>
          <ac:spMkLst>
            <pc:docMk/>
            <pc:sldMk cId="1172908404" sldId="298"/>
            <ac:spMk id="8" creationId="{B27C1372-5369-95FF-FE3A-6135F51A2407}"/>
          </ac:spMkLst>
        </pc:spChg>
        <pc:spChg chg="add del">
          <ac:chgData name="Michiel Janssen" userId="eebde92b-6a93-4ea4-960e-97e8ecf65f44" providerId="ADAL" clId="{5E7E3959-F0EA-4F73-AAD7-8CFD9EA47826}" dt="2025-06-23T09:13:57.607" v="95" actId="478"/>
          <ac:spMkLst>
            <pc:docMk/>
            <pc:sldMk cId="1172908404" sldId="298"/>
            <ac:spMk id="9" creationId="{481322D9-E464-8450-FA9E-79002589814A}"/>
          </ac:spMkLst>
        </pc:spChg>
        <pc:picChg chg="add del mod">
          <ac:chgData name="Michiel Janssen" userId="eebde92b-6a93-4ea4-960e-97e8ecf65f44" providerId="ADAL" clId="{5E7E3959-F0EA-4F73-AAD7-8CFD9EA47826}" dt="2025-06-23T09:13:24.614" v="90" actId="478"/>
          <ac:picMkLst>
            <pc:docMk/>
            <pc:sldMk cId="1172908404" sldId="298"/>
            <ac:picMk id="5" creationId="{4E8634E5-4BCA-6059-E93D-A0D8B8166118}"/>
          </ac:picMkLst>
        </pc:picChg>
        <pc:picChg chg="add del mod">
          <ac:chgData name="Michiel Janssen" userId="eebde92b-6a93-4ea4-960e-97e8ecf65f44" providerId="ADAL" clId="{5E7E3959-F0EA-4F73-AAD7-8CFD9EA47826}" dt="2025-06-23T09:16:55.177" v="123" actId="478"/>
          <ac:picMkLst>
            <pc:docMk/>
            <pc:sldMk cId="1172908404" sldId="298"/>
            <ac:picMk id="7" creationId="{A6ECE850-1C61-39C5-3ACE-5F01145F9497}"/>
          </ac:picMkLst>
        </pc:picChg>
        <pc:picChg chg="add del mod">
          <ac:chgData name="Michiel Janssen" userId="eebde92b-6a93-4ea4-960e-97e8ecf65f44" providerId="ADAL" clId="{5E7E3959-F0EA-4F73-AAD7-8CFD9EA47826}" dt="2025-06-23T09:17:34.123" v="127" actId="478"/>
          <ac:picMkLst>
            <pc:docMk/>
            <pc:sldMk cId="1172908404" sldId="298"/>
            <ac:picMk id="10" creationId="{6636F6BE-0854-0B46-3AFB-E6EA6987AFFA}"/>
          </ac:picMkLst>
        </pc:picChg>
        <pc:picChg chg="mod">
          <ac:chgData name="Michiel Janssen" userId="eebde92b-6a93-4ea4-960e-97e8ecf65f44" providerId="ADAL" clId="{5E7E3959-F0EA-4F73-AAD7-8CFD9EA47826}" dt="2025-06-23T09:16:35.146" v="112" actId="1035"/>
          <ac:picMkLst>
            <pc:docMk/>
            <pc:sldMk cId="1172908404" sldId="298"/>
            <ac:picMk id="11" creationId="{D124C681-F145-F2D6-029F-6A1AA407BD7F}"/>
          </ac:picMkLst>
        </pc:picChg>
        <pc:picChg chg="add del mod">
          <ac:chgData name="Michiel Janssen" userId="eebde92b-6a93-4ea4-960e-97e8ecf65f44" providerId="ADAL" clId="{5E7E3959-F0EA-4F73-AAD7-8CFD9EA47826}" dt="2025-06-23T09:17:14.684" v="126" actId="478"/>
          <ac:picMkLst>
            <pc:docMk/>
            <pc:sldMk cId="1172908404" sldId="298"/>
            <ac:picMk id="12" creationId="{2C628B70-DADB-7D2F-8C9A-09DE3639DB8D}"/>
          </ac:picMkLst>
        </pc:picChg>
      </pc:sldChg>
      <pc:sldChg chg="modSp">
        <pc:chgData name="Michiel Janssen" userId="eebde92b-6a93-4ea4-960e-97e8ecf65f44" providerId="ADAL" clId="{5E7E3959-F0EA-4F73-AAD7-8CFD9EA47826}" dt="2025-06-23T09:21:45.989" v="130"/>
        <pc:sldMkLst>
          <pc:docMk/>
          <pc:sldMk cId="3453658635" sldId="303"/>
        </pc:sldMkLst>
        <pc:picChg chg="mod">
          <ac:chgData name="Michiel Janssen" userId="eebde92b-6a93-4ea4-960e-97e8ecf65f44" providerId="ADAL" clId="{5E7E3959-F0EA-4F73-AAD7-8CFD9EA47826}" dt="2025-06-23T09:21:45.989" v="130"/>
          <ac:picMkLst>
            <pc:docMk/>
            <pc:sldMk cId="3453658635" sldId="303"/>
            <ac:picMk id="8" creationId="{A2DCCB79-9751-53CF-9AFE-76F26451F7C9}"/>
          </ac:picMkLst>
        </pc:picChg>
      </pc:sldChg>
      <pc:sldChg chg="addSp modSp mod modAnim">
        <pc:chgData name="Michiel Janssen" userId="eebde92b-6a93-4ea4-960e-97e8ecf65f44" providerId="ADAL" clId="{5E7E3959-F0EA-4F73-AAD7-8CFD9EA47826}" dt="2025-06-23T09:26:23.464" v="150"/>
        <pc:sldMkLst>
          <pc:docMk/>
          <pc:sldMk cId="4124037331" sldId="306"/>
        </pc:sldMkLst>
        <pc:spChg chg="mod">
          <ac:chgData name="Michiel Janssen" userId="eebde92b-6a93-4ea4-960e-97e8ecf65f44" providerId="ADAL" clId="{5E7E3959-F0EA-4F73-AAD7-8CFD9EA47826}" dt="2025-06-23T09:23:34.174" v="134" actId="164"/>
          <ac:spMkLst>
            <pc:docMk/>
            <pc:sldMk cId="4124037331" sldId="306"/>
            <ac:spMk id="14" creationId="{731424B0-8BC4-1D65-3875-94D4C5889EA6}"/>
          </ac:spMkLst>
        </pc:spChg>
        <pc:spChg chg="mod">
          <ac:chgData name="Michiel Janssen" userId="eebde92b-6a93-4ea4-960e-97e8ecf65f44" providerId="ADAL" clId="{5E7E3959-F0EA-4F73-AAD7-8CFD9EA47826}" dt="2025-06-23T09:23:34.174" v="134" actId="164"/>
          <ac:spMkLst>
            <pc:docMk/>
            <pc:sldMk cId="4124037331" sldId="306"/>
            <ac:spMk id="18" creationId="{A02EDF5F-30CC-0D79-E509-E315992D1977}"/>
          </ac:spMkLst>
        </pc:spChg>
        <pc:spChg chg="mod">
          <ac:chgData name="Michiel Janssen" userId="eebde92b-6a93-4ea4-960e-97e8ecf65f44" providerId="ADAL" clId="{5E7E3959-F0EA-4F73-AAD7-8CFD9EA47826}" dt="2025-06-23T09:23:34.174" v="134" actId="164"/>
          <ac:spMkLst>
            <pc:docMk/>
            <pc:sldMk cId="4124037331" sldId="306"/>
            <ac:spMk id="19" creationId="{21789BE6-5D8F-C5D9-A867-4F301E8C0EBC}"/>
          </ac:spMkLst>
        </pc:spChg>
        <pc:spChg chg="mod">
          <ac:chgData name="Michiel Janssen" userId="eebde92b-6a93-4ea4-960e-97e8ecf65f44" providerId="ADAL" clId="{5E7E3959-F0EA-4F73-AAD7-8CFD9EA47826}" dt="2025-06-23T09:23:34.174" v="134" actId="164"/>
          <ac:spMkLst>
            <pc:docMk/>
            <pc:sldMk cId="4124037331" sldId="306"/>
            <ac:spMk id="20" creationId="{65345DF2-0312-9201-143B-208B3EC993AF}"/>
          </ac:spMkLst>
        </pc:spChg>
        <pc:spChg chg="mod">
          <ac:chgData name="Michiel Janssen" userId="eebde92b-6a93-4ea4-960e-97e8ecf65f44" providerId="ADAL" clId="{5E7E3959-F0EA-4F73-AAD7-8CFD9EA47826}" dt="2025-06-23T09:23:34.174" v="134" actId="164"/>
          <ac:spMkLst>
            <pc:docMk/>
            <pc:sldMk cId="4124037331" sldId="306"/>
            <ac:spMk id="21" creationId="{83675B8D-E4F5-BF8E-14A3-242463BB4015}"/>
          </ac:spMkLst>
        </pc:spChg>
        <pc:spChg chg="mod">
          <ac:chgData name="Michiel Janssen" userId="eebde92b-6a93-4ea4-960e-97e8ecf65f44" providerId="ADAL" clId="{5E7E3959-F0EA-4F73-AAD7-8CFD9EA47826}" dt="2025-06-23T09:23:34.174" v="134" actId="164"/>
          <ac:spMkLst>
            <pc:docMk/>
            <pc:sldMk cId="4124037331" sldId="306"/>
            <ac:spMk id="22" creationId="{651A0A17-F369-EE5B-696C-10E9BD1647C5}"/>
          </ac:spMkLst>
        </pc:spChg>
        <pc:spChg chg="mod">
          <ac:chgData name="Michiel Janssen" userId="eebde92b-6a93-4ea4-960e-97e8ecf65f44" providerId="ADAL" clId="{5E7E3959-F0EA-4F73-AAD7-8CFD9EA47826}" dt="2025-06-23T09:23:34.174" v="134" actId="164"/>
          <ac:spMkLst>
            <pc:docMk/>
            <pc:sldMk cId="4124037331" sldId="306"/>
            <ac:spMk id="23" creationId="{F0163E32-3476-6FDC-DF9B-61AFFF41BCB4}"/>
          </ac:spMkLst>
        </pc:spChg>
        <pc:spChg chg="mod">
          <ac:chgData name="Michiel Janssen" userId="eebde92b-6a93-4ea4-960e-97e8ecf65f44" providerId="ADAL" clId="{5E7E3959-F0EA-4F73-AAD7-8CFD9EA47826}" dt="2025-06-23T09:23:34.174" v="134" actId="164"/>
          <ac:spMkLst>
            <pc:docMk/>
            <pc:sldMk cId="4124037331" sldId="306"/>
            <ac:spMk id="49" creationId="{DD5E866C-5730-534C-71A5-CA5B370EE551}"/>
          </ac:spMkLst>
        </pc:spChg>
        <pc:grpChg chg="add mod">
          <ac:chgData name="Michiel Janssen" userId="eebde92b-6a93-4ea4-960e-97e8ecf65f44" providerId="ADAL" clId="{5E7E3959-F0EA-4F73-AAD7-8CFD9EA47826}" dt="2025-06-23T09:23:34.174" v="134" actId="164"/>
          <ac:grpSpMkLst>
            <pc:docMk/>
            <pc:sldMk cId="4124037331" sldId="306"/>
            <ac:grpSpMk id="9" creationId="{C45A1F40-050F-0B62-1B8D-D77510D5BB19}"/>
          </ac:grpSpMkLst>
        </pc:grpChg>
        <pc:picChg chg="mod">
          <ac:chgData name="Michiel Janssen" userId="eebde92b-6a93-4ea4-960e-97e8ecf65f44" providerId="ADAL" clId="{5E7E3959-F0EA-4F73-AAD7-8CFD9EA47826}" dt="2025-06-23T09:23:34.174" v="134" actId="164"/>
          <ac:picMkLst>
            <pc:docMk/>
            <pc:sldMk cId="4124037331" sldId="306"/>
            <ac:picMk id="39" creationId="{9367EFA2-099B-8B88-1283-423324DE42DA}"/>
          </ac:picMkLst>
        </pc:picChg>
      </pc:sldChg>
      <pc:sldChg chg="addSp delSp modSp mod modAnim">
        <pc:chgData name="Michiel Janssen" userId="eebde92b-6a93-4ea4-960e-97e8ecf65f44" providerId="ADAL" clId="{5E7E3959-F0EA-4F73-AAD7-8CFD9EA47826}" dt="2025-06-23T09:10:23.696" v="87" actId="14100"/>
        <pc:sldMkLst>
          <pc:docMk/>
          <pc:sldMk cId="4072606510" sldId="312"/>
        </pc:sldMkLst>
        <pc:spChg chg="mod">
          <ac:chgData name="Michiel Janssen" userId="eebde92b-6a93-4ea4-960e-97e8ecf65f44" providerId="ADAL" clId="{5E7E3959-F0EA-4F73-AAD7-8CFD9EA47826}" dt="2025-06-23T09:03:00.130" v="62" actId="1076"/>
          <ac:spMkLst>
            <pc:docMk/>
            <pc:sldMk cId="4072606510" sldId="312"/>
            <ac:spMk id="3" creationId="{118560A9-03BB-025A-4697-5FCCEF7D6E9E}"/>
          </ac:spMkLst>
        </pc:spChg>
        <pc:spChg chg="add mod">
          <ac:chgData name="Michiel Janssen" userId="eebde92b-6a93-4ea4-960e-97e8ecf65f44" providerId="ADAL" clId="{5E7E3959-F0EA-4F73-AAD7-8CFD9EA47826}" dt="2025-06-23T09:03:10.704" v="65" actId="1076"/>
          <ac:spMkLst>
            <pc:docMk/>
            <pc:sldMk cId="4072606510" sldId="312"/>
            <ac:spMk id="5" creationId="{7F631655-8EE9-2FB0-DA6D-F9084D3FB657}"/>
          </ac:spMkLst>
        </pc:spChg>
        <pc:spChg chg="mod">
          <ac:chgData name="Michiel Janssen" userId="eebde92b-6a93-4ea4-960e-97e8ecf65f44" providerId="ADAL" clId="{5E7E3959-F0EA-4F73-AAD7-8CFD9EA47826}" dt="2025-06-23T09:02:47.382" v="59" actId="1076"/>
          <ac:spMkLst>
            <pc:docMk/>
            <pc:sldMk cId="4072606510" sldId="312"/>
            <ac:spMk id="22" creationId="{BE0779D9-5C4B-7511-83D1-F0A22CAC1CC1}"/>
          </ac:spMkLst>
        </pc:spChg>
        <pc:spChg chg="mod">
          <ac:chgData name="Michiel Janssen" userId="eebde92b-6a93-4ea4-960e-97e8ecf65f44" providerId="ADAL" clId="{5E7E3959-F0EA-4F73-AAD7-8CFD9EA47826}" dt="2025-06-23T09:02:04.966" v="50"/>
          <ac:spMkLst>
            <pc:docMk/>
            <pc:sldMk cId="4072606510" sldId="312"/>
            <ac:spMk id="30" creationId="{B5C38826-9F0D-0648-77DC-86B94080795D}"/>
          </ac:spMkLst>
        </pc:spChg>
        <pc:spChg chg="add del mod">
          <ac:chgData name="Michiel Janssen" userId="eebde92b-6a93-4ea4-960e-97e8ecf65f44" providerId="ADAL" clId="{5E7E3959-F0EA-4F73-AAD7-8CFD9EA47826}" dt="2025-06-23T09:09:59.853" v="84" actId="478"/>
          <ac:spMkLst>
            <pc:docMk/>
            <pc:sldMk cId="4072606510" sldId="312"/>
            <ac:spMk id="31" creationId="{871A5CBB-C4DF-4BB3-CE08-3707D005C60C}"/>
          </ac:spMkLst>
        </pc:spChg>
        <pc:picChg chg="add del mod">
          <ac:chgData name="Michiel Janssen" userId="eebde92b-6a93-4ea4-960e-97e8ecf65f44" providerId="ADAL" clId="{5E7E3959-F0EA-4F73-AAD7-8CFD9EA47826}" dt="2025-06-23T09:04:07.939" v="70" actId="478"/>
          <ac:picMkLst>
            <pc:docMk/>
            <pc:sldMk cId="4072606510" sldId="312"/>
            <ac:picMk id="16" creationId="{B73AEAEC-52EA-8742-C6E8-9F5B399FEDD2}"/>
          </ac:picMkLst>
        </pc:picChg>
        <pc:picChg chg="mod">
          <ac:chgData name="Michiel Janssen" userId="eebde92b-6a93-4ea4-960e-97e8ecf65f44" providerId="ADAL" clId="{5E7E3959-F0EA-4F73-AAD7-8CFD9EA47826}" dt="2025-06-23T09:06:29.940" v="79" actId="1076"/>
          <ac:picMkLst>
            <pc:docMk/>
            <pc:sldMk cId="4072606510" sldId="312"/>
            <ac:picMk id="17" creationId="{732B9634-B3E9-FF74-0650-721F0137DD5D}"/>
          </ac:picMkLst>
        </pc:picChg>
        <pc:picChg chg="add del mod modCrop">
          <ac:chgData name="Michiel Janssen" userId="eebde92b-6a93-4ea4-960e-97e8ecf65f44" providerId="ADAL" clId="{5E7E3959-F0EA-4F73-AAD7-8CFD9EA47826}" dt="2025-06-23T09:06:36.930" v="81" actId="478"/>
          <ac:picMkLst>
            <pc:docMk/>
            <pc:sldMk cId="4072606510" sldId="312"/>
            <ac:picMk id="28" creationId="{19E718D2-E4C5-8985-CF69-EEA0EAA1EFC8}"/>
          </ac:picMkLst>
        </pc:picChg>
        <pc:picChg chg="add mod">
          <ac:chgData name="Michiel Janssen" userId="eebde92b-6a93-4ea4-960e-97e8ecf65f44" providerId="ADAL" clId="{5E7E3959-F0EA-4F73-AAD7-8CFD9EA47826}" dt="2025-06-23T09:10:23.696" v="87" actId="14100"/>
          <ac:picMkLst>
            <pc:docMk/>
            <pc:sldMk cId="4072606510" sldId="312"/>
            <ac:picMk id="33" creationId="{16521899-C2D8-C94B-595D-4C15CD1B7881}"/>
          </ac:picMkLst>
        </pc:picChg>
      </pc:sldChg>
      <pc:sldChg chg="mod modShow">
        <pc:chgData name="Michiel Janssen" userId="eebde92b-6a93-4ea4-960e-97e8ecf65f44" providerId="ADAL" clId="{5E7E3959-F0EA-4F73-AAD7-8CFD9EA47826}" dt="2025-06-23T09:01:55.770" v="49" actId="729"/>
        <pc:sldMkLst>
          <pc:docMk/>
          <pc:sldMk cId="2242424931" sldId="4804"/>
        </pc:sldMkLst>
      </pc:sldChg>
      <pc:sldChg chg="new del">
        <pc:chgData name="Michiel Janssen" userId="eebde92b-6a93-4ea4-960e-97e8ecf65f44" providerId="ADAL" clId="{5E7E3959-F0EA-4F73-AAD7-8CFD9EA47826}" dt="2025-06-23T08:59:59.221" v="4" actId="680"/>
        <pc:sldMkLst>
          <pc:docMk/>
          <pc:sldMk cId="2684777346" sldId="4805"/>
        </pc:sldMkLst>
      </pc:sldChg>
      <pc:sldChg chg="new del">
        <pc:chgData name="Michiel Janssen" userId="eebde92b-6a93-4ea4-960e-97e8ecf65f44" providerId="ADAL" clId="{5E7E3959-F0EA-4F73-AAD7-8CFD9EA47826}" dt="2025-06-23T08:59:58.836" v="3" actId="680"/>
        <pc:sldMkLst>
          <pc:docMk/>
          <pc:sldMk cId="1100344862" sldId="4806"/>
        </pc:sldMkLst>
      </pc:sldChg>
    </pc:docChg>
  </pc:docChgLst>
  <pc:docChgLst>
    <pc:chgData name="Michiel Janssen" userId="eebde92b-6a93-4ea4-960e-97e8ecf65f44" providerId="ADAL" clId="{461D0217-3E31-4F6C-832B-1C6019DBE3C3}"/>
    <pc:docChg chg="undo custSel addSld modSld sldOrd modMainMaster">
      <pc:chgData name="Michiel Janssen" userId="eebde92b-6a93-4ea4-960e-97e8ecf65f44" providerId="ADAL" clId="{461D0217-3E31-4F6C-832B-1C6019DBE3C3}" dt="2025-05-29T09:49:27.090" v="958" actId="1076"/>
      <pc:docMkLst>
        <pc:docMk/>
      </pc:docMkLst>
      <pc:sldChg chg="modSp mod">
        <pc:chgData name="Michiel Janssen" userId="eebde92b-6a93-4ea4-960e-97e8ecf65f44" providerId="ADAL" clId="{461D0217-3E31-4F6C-832B-1C6019DBE3C3}" dt="2025-05-28T12:25:24.937" v="124" actId="1076"/>
        <pc:sldMkLst>
          <pc:docMk/>
          <pc:sldMk cId="782261539" sldId="292"/>
        </pc:sldMkLst>
        <pc:spChg chg="mod">
          <ac:chgData name="Michiel Janssen" userId="eebde92b-6a93-4ea4-960e-97e8ecf65f44" providerId="ADAL" clId="{461D0217-3E31-4F6C-832B-1C6019DBE3C3}" dt="2025-05-28T12:24:44.589" v="1" actId="1076"/>
          <ac:spMkLst>
            <pc:docMk/>
            <pc:sldMk cId="782261539" sldId="292"/>
            <ac:spMk id="9" creationId="{914D4050-D8A6-914B-14D1-ADE74135758C}"/>
          </ac:spMkLst>
        </pc:spChg>
        <pc:spChg chg="mod">
          <ac:chgData name="Michiel Janssen" userId="eebde92b-6a93-4ea4-960e-97e8ecf65f44" providerId="ADAL" clId="{461D0217-3E31-4F6C-832B-1C6019DBE3C3}" dt="2025-05-28T12:25:24.937" v="124" actId="1076"/>
          <ac:spMkLst>
            <pc:docMk/>
            <pc:sldMk cId="782261539" sldId="292"/>
            <ac:spMk id="31" creationId="{7D32DC3C-A4F2-2485-714B-82F0D30B38F2}"/>
          </ac:spMkLst>
        </pc:spChg>
      </pc:sldChg>
      <pc:sldChg chg="modSp">
        <pc:chgData name="Michiel Janssen" userId="eebde92b-6a93-4ea4-960e-97e8ecf65f44" providerId="ADAL" clId="{461D0217-3E31-4F6C-832B-1C6019DBE3C3}" dt="2025-05-28T12:46:02.034" v="826" actId="20577"/>
        <pc:sldMkLst>
          <pc:docMk/>
          <pc:sldMk cId="1172908404" sldId="298"/>
        </pc:sldMkLst>
        <pc:spChg chg="mod">
          <ac:chgData name="Michiel Janssen" userId="eebde92b-6a93-4ea4-960e-97e8ecf65f44" providerId="ADAL" clId="{461D0217-3E31-4F6C-832B-1C6019DBE3C3}" dt="2025-05-28T12:46:02.034" v="826" actId="20577"/>
          <ac:spMkLst>
            <pc:docMk/>
            <pc:sldMk cId="1172908404" sldId="298"/>
            <ac:spMk id="3" creationId="{AF2725CC-59BE-1B33-46B3-5132C5A13883}"/>
          </ac:spMkLst>
        </pc:spChg>
      </pc:sldChg>
      <pc:sldChg chg="ord">
        <pc:chgData name="Michiel Janssen" userId="eebde92b-6a93-4ea4-960e-97e8ecf65f44" providerId="ADAL" clId="{461D0217-3E31-4F6C-832B-1C6019DBE3C3}" dt="2025-05-28T12:46:10.018" v="828"/>
        <pc:sldMkLst>
          <pc:docMk/>
          <pc:sldMk cId="3453658635" sldId="303"/>
        </pc:sldMkLst>
      </pc:sldChg>
      <pc:sldChg chg="addSp delSp modSp mod modAnim">
        <pc:chgData name="Michiel Janssen" userId="eebde92b-6a93-4ea4-960e-97e8ecf65f44" providerId="ADAL" clId="{461D0217-3E31-4F6C-832B-1C6019DBE3C3}" dt="2025-05-28T12:50:17.608" v="883" actId="1035"/>
        <pc:sldMkLst>
          <pc:docMk/>
          <pc:sldMk cId="4124037331" sldId="306"/>
        </pc:sldMkLst>
        <pc:spChg chg="mod">
          <ac:chgData name="Michiel Janssen" userId="eebde92b-6a93-4ea4-960e-97e8ecf65f44" providerId="ADAL" clId="{461D0217-3E31-4F6C-832B-1C6019DBE3C3}" dt="2025-05-28T12:27:39.361" v="422" actId="948"/>
          <ac:spMkLst>
            <pc:docMk/>
            <pc:sldMk cId="4124037331" sldId="306"/>
            <ac:spMk id="2" creationId="{7D3BECD3-414A-3699-204C-591ED5FFE198}"/>
          </ac:spMkLst>
        </pc:spChg>
        <pc:spChg chg="mod">
          <ac:chgData name="Michiel Janssen" userId="eebde92b-6a93-4ea4-960e-97e8ecf65f44" providerId="ADAL" clId="{461D0217-3E31-4F6C-832B-1C6019DBE3C3}" dt="2025-05-28T12:50:17.608" v="883" actId="1035"/>
          <ac:spMkLst>
            <pc:docMk/>
            <pc:sldMk cId="4124037331" sldId="306"/>
            <ac:spMk id="3" creationId="{782D4E74-D0FD-63CB-F17B-8A54CD5509E3}"/>
          </ac:spMkLst>
        </pc:spChg>
        <pc:spChg chg="mod">
          <ac:chgData name="Michiel Janssen" userId="eebde92b-6a93-4ea4-960e-97e8ecf65f44" providerId="ADAL" clId="{461D0217-3E31-4F6C-832B-1C6019DBE3C3}" dt="2025-05-28T12:49:35.382" v="868" actId="1076"/>
          <ac:spMkLst>
            <pc:docMk/>
            <pc:sldMk cId="4124037331" sldId="306"/>
            <ac:spMk id="4" creationId="{DE844C74-1F6B-9F8D-B8C2-D9272A74A9C8}"/>
          </ac:spMkLst>
        </pc:spChg>
        <pc:spChg chg="mod topLvl">
          <ac:chgData name="Michiel Janssen" userId="eebde92b-6a93-4ea4-960e-97e8ecf65f44" providerId="ADAL" clId="{461D0217-3E31-4F6C-832B-1C6019DBE3C3}" dt="2025-05-28T12:47:09.621" v="862" actId="1038"/>
          <ac:spMkLst>
            <pc:docMk/>
            <pc:sldMk cId="4124037331" sldId="306"/>
            <ac:spMk id="14" creationId="{731424B0-8BC4-1D65-3875-94D4C5889EA6}"/>
          </ac:spMkLst>
        </pc:spChg>
        <pc:spChg chg="mod topLvl">
          <ac:chgData name="Michiel Janssen" userId="eebde92b-6a93-4ea4-960e-97e8ecf65f44" providerId="ADAL" clId="{461D0217-3E31-4F6C-832B-1C6019DBE3C3}" dt="2025-05-28T12:47:09.621" v="862" actId="1038"/>
          <ac:spMkLst>
            <pc:docMk/>
            <pc:sldMk cId="4124037331" sldId="306"/>
            <ac:spMk id="18" creationId="{A02EDF5F-30CC-0D79-E509-E315992D1977}"/>
          </ac:spMkLst>
        </pc:spChg>
        <pc:spChg chg="mod topLvl">
          <ac:chgData name="Michiel Janssen" userId="eebde92b-6a93-4ea4-960e-97e8ecf65f44" providerId="ADAL" clId="{461D0217-3E31-4F6C-832B-1C6019DBE3C3}" dt="2025-05-28T12:47:09.621" v="862" actId="1038"/>
          <ac:spMkLst>
            <pc:docMk/>
            <pc:sldMk cId="4124037331" sldId="306"/>
            <ac:spMk id="19" creationId="{21789BE6-5D8F-C5D9-A867-4F301E8C0EBC}"/>
          </ac:spMkLst>
        </pc:spChg>
        <pc:spChg chg="mod topLvl">
          <ac:chgData name="Michiel Janssen" userId="eebde92b-6a93-4ea4-960e-97e8ecf65f44" providerId="ADAL" clId="{461D0217-3E31-4F6C-832B-1C6019DBE3C3}" dt="2025-05-28T12:47:09.621" v="862" actId="1038"/>
          <ac:spMkLst>
            <pc:docMk/>
            <pc:sldMk cId="4124037331" sldId="306"/>
            <ac:spMk id="20" creationId="{65345DF2-0312-9201-143B-208B3EC993AF}"/>
          </ac:spMkLst>
        </pc:spChg>
        <pc:spChg chg="mod topLvl">
          <ac:chgData name="Michiel Janssen" userId="eebde92b-6a93-4ea4-960e-97e8ecf65f44" providerId="ADAL" clId="{461D0217-3E31-4F6C-832B-1C6019DBE3C3}" dt="2025-05-28T12:47:09.621" v="862" actId="1038"/>
          <ac:spMkLst>
            <pc:docMk/>
            <pc:sldMk cId="4124037331" sldId="306"/>
            <ac:spMk id="21" creationId="{83675B8D-E4F5-BF8E-14A3-242463BB4015}"/>
          </ac:spMkLst>
        </pc:spChg>
        <pc:spChg chg="mod topLvl">
          <ac:chgData name="Michiel Janssen" userId="eebde92b-6a93-4ea4-960e-97e8ecf65f44" providerId="ADAL" clId="{461D0217-3E31-4F6C-832B-1C6019DBE3C3}" dt="2025-05-28T12:47:09.621" v="862" actId="1038"/>
          <ac:spMkLst>
            <pc:docMk/>
            <pc:sldMk cId="4124037331" sldId="306"/>
            <ac:spMk id="22" creationId="{651A0A17-F369-EE5B-696C-10E9BD1647C5}"/>
          </ac:spMkLst>
        </pc:spChg>
        <pc:spChg chg="mod topLvl">
          <ac:chgData name="Michiel Janssen" userId="eebde92b-6a93-4ea4-960e-97e8ecf65f44" providerId="ADAL" clId="{461D0217-3E31-4F6C-832B-1C6019DBE3C3}" dt="2025-05-28T12:47:09.621" v="862" actId="1038"/>
          <ac:spMkLst>
            <pc:docMk/>
            <pc:sldMk cId="4124037331" sldId="306"/>
            <ac:spMk id="23" creationId="{F0163E32-3476-6FDC-DF9B-61AFFF41BCB4}"/>
          </ac:spMkLst>
        </pc:spChg>
        <pc:spChg chg="mod">
          <ac:chgData name="Michiel Janssen" userId="eebde92b-6a93-4ea4-960e-97e8ecf65f44" providerId="ADAL" clId="{461D0217-3E31-4F6C-832B-1C6019DBE3C3}" dt="2025-05-28T12:41:16.774" v="562" actId="14100"/>
          <ac:spMkLst>
            <pc:docMk/>
            <pc:sldMk cId="4124037331" sldId="306"/>
            <ac:spMk id="26" creationId="{9A2BE3F6-37E7-856D-8B9E-E6284398D491}"/>
          </ac:spMkLst>
        </pc:spChg>
        <pc:spChg chg="mod">
          <ac:chgData name="Michiel Janssen" userId="eebde92b-6a93-4ea4-960e-97e8ecf65f44" providerId="ADAL" clId="{461D0217-3E31-4F6C-832B-1C6019DBE3C3}" dt="2025-05-28T12:39:15.194" v="553" actId="20577"/>
          <ac:spMkLst>
            <pc:docMk/>
            <pc:sldMk cId="4124037331" sldId="306"/>
            <ac:spMk id="33" creationId="{E113AB63-4EEA-47B2-C32A-DD36C21BB4C3}"/>
          </ac:spMkLst>
        </pc:spChg>
        <pc:spChg chg="mod topLvl">
          <ac:chgData name="Michiel Janssen" userId="eebde92b-6a93-4ea4-960e-97e8ecf65f44" providerId="ADAL" clId="{461D0217-3E31-4F6C-832B-1C6019DBE3C3}" dt="2025-05-28T12:47:09.621" v="862" actId="1038"/>
          <ac:spMkLst>
            <pc:docMk/>
            <pc:sldMk cId="4124037331" sldId="306"/>
            <ac:spMk id="49" creationId="{DD5E866C-5730-534C-71A5-CA5B370EE551}"/>
          </ac:spMkLst>
        </pc:spChg>
        <pc:graphicFrameChg chg="add mod ord modVis">
          <ac:chgData name="Michiel Janssen" userId="eebde92b-6a93-4ea4-960e-97e8ecf65f44" providerId="ADAL" clId="{461D0217-3E31-4F6C-832B-1C6019DBE3C3}" dt="2025-05-28T12:27:39.392" v="446"/>
          <ac:graphicFrameMkLst>
            <pc:docMk/>
            <pc:sldMk cId="4124037331" sldId="306"/>
            <ac:graphicFrameMk id="16" creationId="{16EF0BBA-9B20-A5A3-471C-9187C098C8F5}"/>
          </ac:graphicFrameMkLst>
        </pc:graphicFrameChg>
        <pc:picChg chg="mod topLvl">
          <ac:chgData name="Michiel Janssen" userId="eebde92b-6a93-4ea4-960e-97e8ecf65f44" providerId="ADAL" clId="{461D0217-3E31-4F6C-832B-1C6019DBE3C3}" dt="2025-05-28T12:47:09.621" v="862" actId="1038"/>
          <ac:picMkLst>
            <pc:docMk/>
            <pc:sldMk cId="4124037331" sldId="306"/>
            <ac:picMk id="39" creationId="{9367EFA2-099B-8B88-1283-423324DE42DA}"/>
          </ac:picMkLst>
        </pc:picChg>
        <pc:picChg chg="add mod">
          <ac:chgData name="Michiel Janssen" userId="eebde92b-6a93-4ea4-960e-97e8ecf65f44" providerId="ADAL" clId="{461D0217-3E31-4F6C-832B-1C6019DBE3C3}" dt="2025-05-28T12:48:09.206" v="867" actId="1076"/>
          <ac:picMkLst>
            <pc:docMk/>
            <pc:sldMk cId="4124037331" sldId="306"/>
            <ac:picMk id="45" creationId="{5B18F2A9-126B-E2FF-CA5F-501F6AB86694}"/>
          </ac:picMkLst>
        </pc:picChg>
      </pc:sldChg>
      <pc:sldChg chg="modSp mod modAnim">
        <pc:chgData name="Michiel Janssen" userId="eebde92b-6a93-4ea4-960e-97e8ecf65f44" providerId="ADAL" clId="{461D0217-3E31-4F6C-832B-1C6019DBE3C3}" dt="2025-05-29T09:41:17.721" v="949" actId="14100"/>
        <pc:sldMkLst>
          <pc:docMk/>
          <pc:sldMk cId="1828097376" sldId="4803"/>
        </pc:sldMkLst>
        <pc:spChg chg="mod">
          <ac:chgData name="Michiel Janssen" userId="eebde92b-6a93-4ea4-960e-97e8ecf65f44" providerId="ADAL" clId="{461D0217-3E31-4F6C-832B-1C6019DBE3C3}" dt="2025-05-29T09:35:29.055" v="911" actId="1076"/>
          <ac:spMkLst>
            <pc:docMk/>
            <pc:sldMk cId="1828097376" sldId="4803"/>
            <ac:spMk id="3" creationId="{8B278F9D-9390-46B0-2A79-46DD109C8CC1}"/>
          </ac:spMkLst>
        </pc:spChg>
        <pc:spChg chg="mod">
          <ac:chgData name="Michiel Janssen" userId="eebde92b-6a93-4ea4-960e-97e8ecf65f44" providerId="ADAL" clId="{461D0217-3E31-4F6C-832B-1C6019DBE3C3}" dt="2025-05-29T09:33:29.877" v="902" actId="1076"/>
          <ac:spMkLst>
            <pc:docMk/>
            <pc:sldMk cId="1828097376" sldId="4803"/>
            <ac:spMk id="5" creationId="{8B822F89-6834-D9F7-10AE-7E2D2E699035}"/>
          </ac:spMkLst>
        </pc:spChg>
        <pc:spChg chg="mod">
          <ac:chgData name="Michiel Janssen" userId="eebde92b-6a93-4ea4-960e-97e8ecf65f44" providerId="ADAL" clId="{461D0217-3E31-4F6C-832B-1C6019DBE3C3}" dt="2025-05-29T09:30:11.559" v="885" actId="1076"/>
          <ac:spMkLst>
            <pc:docMk/>
            <pc:sldMk cId="1828097376" sldId="4803"/>
            <ac:spMk id="7" creationId="{BDB81824-B9A3-D696-9ADC-82E05E996812}"/>
          </ac:spMkLst>
        </pc:spChg>
        <pc:spChg chg="mod">
          <ac:chgData name="Michiel Janssen" userId="eebde92b-6a93-4ea4-960e-97e8ecf65f44" providerId="ADAL" clId="{461D0217-3E31-4F6C-832B-1C6019DBE3C3}" dt="2025-05-28T12:55:29.980" v="884" actId="14100"/>
          <ac:spMkLst>
            <pc:docMk/>
            <pc:sldMk cId="1828097376" sldId="4803"/>
            <ac:spMk id="9" creationId="{1D21E461-672D-41D3-DB84-A027E0520046}"/>
          </ac:spMkLst>
        </pc:spChg>
        <pc:spChg chg="mod">
          <ac:chgData name="Michiel Janssen" userId="eebde92b-6a93-4ea4-960e-97e8ecf65f44" providerId="ADAL" clId="{461D0217-3E31-4F6C-832B-1C6019DBE3C3}" dt="2025-05-29T09:37:42.534" v="921" actId="6549"/>
          <ac:spMkLst>
            <pc:docMk/>
            <pc:sldMk cId="1828097376" sldId="4803"/>
            <ac:spMk id="10" creationId="{11C05D6F-8889-0AE3-1507-E96DB2FA1801}"/>
          </ac:spMkLst>
        </pc:spChg>
        <pc:spChg chg="mod">
          <ac:chgData name="Michiel Janssen" userId="eebde92b-6a93-4ea4-960e-97e8ecf65f44" providerId="ADAL" clId="{461D0217-3E31-4F6C-832B-1C6019DBE3C3}" dt="2025-05-29T09:33:01.374" v="899" actId="1076"/>
          <ac:spMkLst>
            <pc:docMk/>
            <pc:sldMk cId="1828097376" sldId="4803"/>
            <ac:spMk id="12" creationId="{D9462014-C19A-0481-C9D7-5D7613994CE0}"/>
          </ac:spMkLst>
        </pc:spChg>
        <pc:spChg chg="mod">
          <ac:chgData name="Michiel Janssen" userId="eebde92b-6a93-4ea4-960e-97e8ecf65f44" providerId="ADAL" clId="{461D0217-3E31-4F6C-832B-1C6019DBE3C3}" dt="2025-05-29T09:33:01.374" v="899" actId="1076"/>
          <ac:spMkLst>
            <pc:docMk/>
            <pc:sldMk cId="1828097376" sldId="4803"/>
            <ac:spMk id="14" creationId="{760B5307-CEA4-A63D-CB38-1C5FC591C9FF}"/>
          </ac:spMkLst>
        </pc:spChg>
        <pc:spChg chg="mod">
          <ac:chgData name="Michiel Janssen" userId="eebde92b-6a93-4ea4-960e-97e8ecf65f44" providerId="ADAL" clId="{461D0217-3E31-4F6C-832B-1C6019DBE3C3}" dt="2025-05-29T09:33:01.374" v="899" actId="1076"/>
          <ac:spMkLst>
            <pc:docMk/>
            <pc:sldMk cId="1828097376" sldId="4803"/>
            <ac:spMk id="16" creationId="{FBB8D8AA-5F89-D119-9F4D-FF1CEA5A8FBF}"/>
          </ac:spMkLst>
        </pc:spChg>
        <pc:spChg chg="mod">
          <ac:chgData name="Michiel Janssen" userId="eebde92b-6a93-4ea4-960e-97e8ecf65f44" providerId="ADAL" clId="{461D0217-3E31-4F6C-832B-1C6019DBE3C3}" dt="2025-05-29T09:33:01.374" v="899" actId="1076"/>
          <ac:spMkLst>
            <pc:docMk/>
            <pc:sldMk cId="1828097376" sldId="4803"/>
            <ac:spMk id="18" creationId="{3A359A84-C7D7-B57F-AD95-8DE18818C1C5}"/>
          </ac:spMkLst>
        </pc:spChg>
        <pc:spChg chg="mod">
          <ac:chgData name="Michiel Janssen" userId="eebde92b-6a93-4ea4-960e-97e8ecf65f44" providerId="ADAL" clId="{461D0217-3E31-4F6C-832B-1C6019DBE3C3}" dt="2025-05-29T09:41:17.721" v="949" actId="14100"/>
          <ac:spMkLst>
            <pc:docMk/>
            <pc:sldMk cId="1828097376" sldId="4803"/>
            <ac:spMk id="19" creationId="{73FC5B37-E88F-CE57-99C7-E4E8BA01F126}"/>
          </ac:spMkLst>
        </pc:spChg>
        <pc:spChg chg="mod">
          <ac:chgData name="Michiel Janssen" userId="eebde92b-6a93-4ea4-960e-97e8ecf65f44" providerId="ADAL" clId="{461D0217-3E31-4F6C-832B-1C6019DBE3C3}" dt="2025-05-29T09:33:01.374" v="899" actId="1076"/>
          <ac:spMkLst>
            <pc:docMk/>
            <pc:sldMk cId="1828097376" sldId="4803"/>
            <ac:spMk id="21" creationId="{D0F68C6B-76FE-DFDD-A73C-8AA78B78964D}"/>
          </ac:spMkLst>
        </pc:spChg>
        <pc:spChg chg="mod">
          <ac:chgData name="Michiel Janssen" userId="eebde92b-6a93-4ea4-960e-97e8ecf65f44" providerId="ADAL" clId="{461D0217-3E31-4F6C-832B-1C6019DBE3C3}" dt="2025-05-29T09:33:01.374" v="899" actId="1076"/>
          <ac:spMkLst>
            <pc:docMk/>
            <pc:sldMk cId="1828097376" sldId="4803"/>
            <ac:spMk id="23" creationId="{A950673A-6AF9-64AA-0FE8-C7529B595D2C}"/>
          </ac:spMkLst>
        </pc:spChg>
        <pc:spChg chg="mod">
          <ac:chgData name="Michiel Janssen" userId="eebde92b-6a93-4ea4-960e-97e8ecf65f44" providerId="ADAL" clId="{461D0217-3E31-4F6C-832B-1C6019DBE3C3}" dt="2025-05-29T09:33:01.374" v="899" actId="1076"/>
          <ac:spMkLst>
            <pc:docMk/>
            <pc:sldMk cId="1828097376" sldId="4803"/>
            <ac:spMk id="25" creationId="{66B0F387-23BC-1E1F-6C36-B9E86A7DFD0A}"/>
          </ac:spMkLst>
        </pc:spChg>
      </pc:sldChg>
      <pc:sldChg chg="addSp delSp modSp add mod delAnim modAnim">
        <pc:chgData name="Michiel Janssen" userId="eebde92b-6a93-4ea4-960e-97e8ecf65f44" providerId="ADAL" clId="{461D0217-3E31-4F6C-832B-1C6019DBE3C3}" dt="2025-05-29T09:49:27.090" v="958" actId="1076"/>
        <pc:sldMkLst>
          <pc:docMk/>
          <pc:sldMk cId="2242424931" sldId="4804"/>
        </pc:sldMkLst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2" creationId="{79719184-00EB-3B4B-3A00-57F5810AD68A}"/>
          </ac:spMkLst>
        </pc:spChg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20" creationId="{2CFD50DE-884B-9131-C641-A98AC4C7B46E}"/>
          </ac:spMkLst>
        </pc:spChg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22" creationId="{481F3E99-6D88-D292-024A-08E212083135}"/>
          </ac:spMkLst>
        </pc:spChg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24" creationId="{6FB5949F-CDA6-9FDF-F7BA-158E837800D6}"/>
          </ac:spMkLst>
        </pc:spChg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26" creationId="{A2DE8F50-F6EA-5345-A2FB-603A549BBAA3}"/>
          </ac:spMkLst>
        </pc:spChg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27" creationId="{A66903C6-3BCB-706C-D6F0-F8C2E27C5557}"/>
          </ac:spMkLst>
        </pc:spChg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28" creationId="{B5778525-48F6-979D-E29E-F7FFB4BCC03C}"/>
          </ac:spMkLst>
        </pc:spChg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29" creationId="{103EEAD7-3EB1-4119-7DD5-685620DDC0F9}"/>
          </ac:spMkLst>
        </pc:spChg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30" creationId="{2DC8AB30-C8AC-B18E-970B-C466A2D6CB80}"/>
          </ac:spMkLst>
        </pc:spChg>
        <pc:spChg chg="add mod">
          <ac:chgData name="Michiel Janssen" userId="eebde92b-6a93-4ea4-960e-97e8ecf65f44" providerId="ADAL" clId="{461D0217-3E31-4F6C-832B-1C6019DBE3C3}" dt="2025-05-29T09:42:16.112" v="955" actId="1076"/>
          <ac:spMkLst>
            <pc:docMk/>
            <pc:sldMk cId="2242424931" sldId="4804"/>
            <ac:spMk id="31" creationId="{69131F7E-9E0B-B2E6-B084-1DF4D8B25C32}"/>
          </ac:spMkLst>
        </pc:spChg>
        <pc:picChg chg="add mod">
          <ac:chgData name="Michiel Janssen" userId="eebde92b-6a93-4ea4-960e-97e8ecf65f44" providerId="ADAL" clId="{461D0217-3E31-4F6C-832B-1C6019DBE3C3}" dt="2025-05-29T09:49:27.090" v="958" actId="1076"/>
          <ac:picMkLst>
            <pc:docMk/>
            <pc:sldMk cId="2242424931" sldId="4804"/>
            <ac:picMk id="33" creationId="{B0E15A45-F59D-FB93-B14C-20462DF9F4C4}"/>
          </ac:picMkLst>
        </pc:picChg>
      </pc:sldChg>
      <pc:sldMasterChg chg="addSp delSp modSp mod">
        <pc:chgData name="Michiel Janssen" userId="eebde92b-6a93-4ea4-960e-97e8ecf65f44" providerId="ADAL" clId="{461D0217-3E31-4F6C-832B-1C6019DBE3C3}" dt="2025-05-28T12:27:26.119" v="220"/>
        <pc:sldMasterMkLst>
          <pc:docMk/>
          <pc:sldMasterMk cId="3284905265" sldId="2147483648"/>
        </pc:sldMasterMkLst>
        <pc:spChg chg="mod">
          <ac:chgData name="Michiel Janssen" userId="eebde92b-6a93-4ea4-960e-97e8ecf65f44" providerId="ADAL" clId="{461D0217-3E31-4F6C-832B-1C6019DBE3C3}" dt="2025-05-28T12:27:25.952" v="144" actId="948"/>
          <ac:spMkLst>
            <pc:docMk/>
            <pc:sldMasterMk cId="3284905265" sldId="2147483648"/>
            <ac:spMk id="2" creationId="{154A3C84-A572-6C98-EF4C-2471A0D245A5}"/>
          </ac:spMkLst>
        </pc:spChg>
        <pc:graphicFrameChg chg="add mod ord modVis">
          <ac:chgData name="Michiel Janssen" userId="eebde92b-6a93-4ea4-960e-97e8ecf65f44" providerId="ADAL" clId="{461D0217-3E31-4F6C-832B-1C6019DBE3C3}" dt="2025-05-28T12:27:26.119" v="220"/>
          <ac:graphicFrameMkLst>
            <pc:docMk/>
            <pc:sldMasterMk cId="3284905265" sldId="2147483648"/>
            <ac:graphicFrameMk id="8" creationId="{02E44110-747F-BC01-7AD8-63E38BC72C6C}"/>
          </ac:graphicFrameMkLst>
        </pc:graphicFrameChg>
      </pc:sldMasterChg>
      <pc:sldMasterChg chg="addSp delSp modSp mod">
        <pc:chgData name="Michiel Janssen" userId="eebde92b-6a93-4ea4-960e-97e8ecf65f44" providerId="ADAL" clId="{461D0217-3E31-4F6C-832B-1C6019DBE3C3}" dt="2025-05-28T12:27:26.154" v="236"/>
        <pc:sldMasterMkLst>
          <pc:docMk/>
          <pc:sldMasterMk cId="191221918" sldId="2147483665"/>
        </pc:sldMasterMkLst>
        <pc:spChg chg="mod">
          <ac:chgData name="Michiel Janssen" userId="eebde92b-6a93-4ea4-960e-97e8ecf65f44" providerId="ADAL" clId="{461D0217-3E31-4F6C-832B-1C6019DBE3C3}" dt="2025-05-28T12:27:25.990" v="164" actId="948"/>
          <ac:spMkLst>
            <pc:docMk/>
            <pc:sldMasterMk cId="191221918" sldId="2147483665"/>
            <ac:spMk id="2" creationId="{00000000-0000-0000-0000-000000000000}"/>
          </ac:spMkLst>
        </pc:spChg>
        <pc:graphicFrameChg chg="add mod ord modVis">
          <ac:chgData name="Michiel Janssen" userId="eebde92b-6a93-4ea4-960e-97e8ecf65f44" providerId="ADAL" clId="{461D0217-3E31-4F6C-832B-1C6019DBE3C3}" dt="2025-05-28T12:27:26.154" v="236"/>
          <ac:graphicFrameMkLst>
            <pc:docMk/>
            <pc:sldMasterMk cId="191221918" sldId="2147483665"/>
            <ac:graphicFrameMk id="10" creationId="{40A1D7D7-9D75-76D1-08F7-826331C765DC}"/>
          </ac:graphicFrameMkLst>
        </pc:graphicFrameChg>
      </pc:sldMasterChg>
    </pc:docChg>
  </pc:docChgLst>
  <pc:docChgLst>
    <pc:chgData name="Jeroen Keeris" userId="S::jkeeris@rentcompany.nl::e80b97d4-d75f-45d1-aa67-a8cf23c8171a" providerId="AD" clId="Web-{7CFD5165-6DAB-C5A9-974A-12CA4D0F6487}"/>
    <pc:docChg chg="modSld">
      <pc:chgData name="Jeroen Keeris" userId="S::jkeeris@rentcompany.nl::e80b97d4-d75f-45d1-aa67-a8cf23c8171a" providerId="AD" clId="Web-{7CFD5165-6DAB-C5A9-974A-12CA4D0F6487}" dt="2025-06-18T09:59:10.726" v="1" actId="1076"/>
      <pc:docMkLst>
        <pc:docMk/>
      </pc:docMkLst>
      <pc:sldChg chg="modSp">
        <pc:chgData name="Jeroen Keeris" userId="S::jkeeris@rentcompany.nl::e80b97d4-d75f-45d1-aa67-a8cf23c8171a" providerId="AD" clId="Web-{7CFD5165-6DAB-C5A9-974A-12CA4D0F6487}" dt="2025-06-18T09:59:10.726" v="1" actId="1076"/>
        <pc:sldMkLst>
          <pc:docMk/>
          <pc:sldMk cId="4124037331" sldId="306"/>
        </pc:sldMkLst>
        <pc:picChg chg="mod">
          <ac:chgData name="Jeroen Keeris" userId="S::jkeeris@rentcompany.nl::e80b97d4-d75f-45d1-aa67-a8cf23c8171a" providerId="AD" clId="Web-{7CFD5165-6DAB-C5A9-974A-12CA4D0F6487}" dt="2025-06-18T09:59:10.726" v="1" actId="1076"/>
          <ac:picMkLst>
            <pc:docMk/>
            <pc:sldMk cId="4124037331" sldId="306"/>
            <ac:picMk id="45" creationId="{5B18F2A9-126B-E2FF-CA5F-501F6AB86694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ko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3" name="Tijdelijke aanduiding voo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F7018B-1868-4EE7-90B2-BA74B3179335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4" name="Tijdelijke aanduiding voor dia-afbeelding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Tijdelijke aanduiding voor notiti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6" name="Tijdelijke aanduiding voor voet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l-NL"/>
          </a:p>
        </p:txBody>
      </p:sp>
      <p:sp>
        <p:nvSpPr>
          <p:cNvPr id="7" name="Tijdelijke aanduiding voor dia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6F0822A-D7C0-4A1A-8711-008A491CAA1B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5845567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26B20-2FEB-0D4F-9123-611168CEDB75}" type="slidenum">
              <a:rPr lang="nl-NL" smtClean="0"/>
              <a:t>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4387405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0822A-D7C0-4A1A-8711-008A491CAA1B}" type="slidenum">
              <a:rPr lang="nl-NL" smtClean="0"/>
              <a:t>3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822046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0822A-D7C0-4A1A-8711-008A491CAA1B}" type="slidenum">
              <a:rPr lang="nl-NL" smtClean="0"/>
              <a:t>4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87195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nl-NL" dirty="0"/>
              <a:t>Binnen de studie die een student kiest, bieden we (normaal gesproken) vier soorten laptops aan. Zodat er altijd een laptop is die bij de student past</a:t>
            </a:r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0822A-D7C0-4A1A-8711-008A491CAA1B}" type="slidenum">
              <a:rPr lang="nl-NL" smtClean="0"/>
              <a:t>5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608379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0822A-D7C0-4A1A-8711-008A491CAA1B}" type="slidenum">
              <a:rPr lang="nl-NL" smtClean="0"/>
              <a:t>6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310365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0822A-D7C0-4A1A-8711-008A491CAA1B}" type="slidenum">
              <a:rPr lang="nl-NL" smtClean="0"/>
              <a:t>7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699161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0822A-D7C0-4A1A-8711-008A491CAA1B}" type="slidenum">
              <a:rPr lang="nl-NL" smtClean="0"/>
              <a:t>8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70113209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C62CC3-ED28-C90D-D3C4-0F9B516EF07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>
            <a:extLst>
              <a:ext uri="{FF2B5EF4-FFF2-40B4-BE49-F238E27FC236}">
                <a16:creationId xmlns:a16="http://schemas.microsoft.com/office/drawing/2014/main" id="{ED3807B0-A308-AB2D-F86C-F90D8172761D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>
            <a:extLst>
              <a:ext uri="{FF2B5EF4-FFF2-40B4-BE49-F238E27FC236}">
                <a16:creationId xmlns:a16="http://schemas.microsoft.com/office/drawing/2014/main" id="{C906F7D6-634A-070C-A9AA-470503D57A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E04D1AD0-115A-1DC1-FE06-97E620ABFF41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6F0822A-D7C0-4A1A-8711-008A491CAA1B}" type="slidenum">
              <a:rPr lang="nl-NL" smtClean="0"/>
              <a:t>9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85647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26B20-2FEB-0D4F-9123-611168CEDB75}" type="slidenum">
              <a:rPr lang="nl-NL" smtClean="0"/>
              <a:t>11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736109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8FAA57A-E921-A31D-66C5-46AAEEE92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8B0773E-DA12-E832-02A6-62C0A2C6E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18EFBC-DF31-3021-C0A7-425E41A6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70757AAC-28A0-1896-19E8-105A91E114E1}"/>
              </a:ext>
            </a:extLst>
          </p:cNvPr>
          <p:cNvSpPr/>
          <p:nvPr userDrawn="1"/>
        </p:nvSpPr>
        <p:spPr>
          <a:xfrm>
            <a:off x="0" y="1"/>
            <a:ext cx="12192000" cy="895453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D62E622-DCA2-FC17-741F-ED0A963BCBE4}"/>
              </a:ext>
            </a:extLst>
          </p:cNvPr>
          <p:cNvSpPr/>
          <p:nvPr userDrawn="1"/>
        </p:nvSpPr>
        <p:spPr>
          <a:xfrm>
            <a:off x="-12572" y="6546793"/>
            <a:ext cx="12204569" cy="316458"/>
          </a:xfrm>
          <a:prstGeom prst="rect">
            <a:avLst/>
          </a:pr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95B1C276-C89A-D80F-11C5-03D45DB73117}"/>
              </a:ext>
            </a:extLst>
          </p:cNvPr>
          <p:cNvGrpSpPr/>
          <p:nvPr userDrawn="1"/>
        </p:nvGrpSpPr>
        <p:grpSpPr>
          <a:xfrm>
            <a:off x="10349008" y="304800"/>
            <a:ext cx="1283457" cy="427536"/>
            <a:chOff x="216620" y="3284504"/>
            <a:chExt cx="5991069" cy="1995703"/>
          </a:xfrm>
          <a:solidFill>
            <a:srgbClr val="AA8FC2"/>
          </a:solidFill>
        </p:grpSpPr>
        <p:grpSp>
          <p:nvGrpSpPr>
            <p:cNvPr id="12" name="Graphic 2">
              <a:extLst>
                <a:ext uri="{FF2B5EF4-FFF2-40B4-BE49-F238E27FC236}">
                  <a16:creationId xmlns:a16="http://schemas.microsoft.com/office/drawing/2014/main" id="{EB7CA6FA-3157-E50B-7AB3-4B1446714383}"/>
                </a:ext>
              </a:extLst>
            </p:cNvPr>
            <p:cNvGrpSpPr/>
            <p:nvPr/>
          </p:nvGrpSpPr>
          <p:grpSpPr>
            <a:xfrm>
              <a:off x="477994" y="3284504"/>
              <a:ext cx="5729695" cy="970554"/>
              <a:chOff x="477994" y="3284504"/>
              <a:chExt cx="5729695" cy="970554"/>
            </a:xfrm>
            <a:grpFill/>
          </p:grpSpPr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D1FB865B-395D-4AB3-F3AB-0168FD68EFD9}"/>
                  </a:ext>
                </a:extLst>
              </p:cNvPr>
              <p:cNvSpPr/>
              <p:nvPr/>
            </p:nvSpPr>
            <p:spPr>
              <a:xfrm>
                <a:off x="477994" y="3284504"/>
                <a:ext cx="1104206" cy="970554"/>
              </a:xfrm>
              <a:custGeom>
                <a:avLst/>
                <a:gdLst>
                  <a:gd name="connsiteX0" fmla="*/ 1104207 w 1104206"/>
                  <a:gd name="connsiteY0" fmla="*/ 646593 h 970554"/>
                  <a:gd name="connsiteX1" fmla="*/ 590591 w 1104206"/>
                  <a:gd name="connsiteY1" fmla="*/ 970555 h 970554"/>
                  <a:gd name="connsiteX2" fmla="*/ 0 w 1104206"/>
                  <a:gd name="connsiteY2" fmla="*/ 797560 h 970554"/>
                  <a:gd name="connsiteX3" fmla="*/ 157757 w 1104206"/>
                  <a:gd name="connsiteY3" fmla="*/ 615450 h 970554"/>
                  <a:gd name="connsiteX4" fmla="*/ 595824 w 1104206"/>
                  <a:gd name="connsiteY4" fmla="*/ 746858 h 970554"/>
                  <a:gd name="connsiteX5" fmla="*/ 790119 w 1104206"/>
                  <a:gd name="connsiteY5" fmla="*/ 679255 h 970554"/>
                  <a:gd name="connsiteX6" fmla="*/ 568517 w 1104206"/>
                  <a:gd name="connsiteY6" fmla="*/ 605101 h 970554"/>
                  <a:gd name="connsiteX7" fmla="*/ 39201 w 1104206"/>
                  <a:gd name="connsiteY7" fmla="*/ 308485 h 970554"/>
                  <a:gd name="connsiteX8" fmla="*/ 552722 w 1104206"/>
                  <a:gd name="connsiteY8" fmla="*/ 0 h 970554"/>
                  <a:gd name="connsiteX9" fmla="*/ 1065100 w 1104206"/>
                  <a:gd name="connsiteY9" fmla="*/ 131408 h 970554"/>
                  <a:gd name="connsiteX10" fmla="*/ 913813 w 1104206"/>
                  <a:gd name="connsiteY10" fmla="*/ 316176 h 970554"/>
                  <a:gd name="connsiteX11" fmla="*/ 552722 w 1104206"/>
                  <a:gd name="connsiteY11" fmla="*/ 221228 h 970554"/>
                  <a:gd name="connsiteX12" fmla="*/ 353289 w 1104206"/>
                  <a:gd name="connsiteY12" fmla="*/ 282374 h 970554"/>
                  <a:gd name="connsiteX13" fmla="*/ 582789 w 1104206"/>
                  <a:gd name="connsiteY13" fmla="*/ 347508 h 970554"/>
                  <a:gd name="connsiteX14" fmla="*/ 1104207 w 1104206"/>
                  <a:gd name="connsiteY14" fmla="*/ 64668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206" h="970554">
                    <a:moveTo>
                      <a:pt x="1104207" y="646593"/>
                    </a:moveTo>
                    <a:cubicBezTo>
                      <a:pt x="1104207" y="843040"/>
                      <a:pt x="928181" y="970555"/>
                      <a:pt x="590591" y="970555"/>
                    </a:cubicBezTo>
                    <a:cubicBezTo>
                      <a:pt x="353194" y="970555"/>
                      <a:pt x="147291" y="908079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858"/>
                      <a:pt x="595824" y="746858"/>
                    </a:cubicBezTo>
                    <a:cubicBezTo>
                      <a:pt x="726179" y="746858"/>
                      <a:pt x="790119" y="724735"/>
                      <a:pt x="790119" y="679255"/>
                    </a:cubicBezTo>
                    <a:cubicBezTo>
                      <a:pt x="790119" y="633775"/>
                      <a:pt x="737882" y="619438"/>
                      <a:pt x="568517" y="605101"/>
                    </a:cubicBezTo>
                    <a:cubicBezTo>
                      <a:pt x="288207" y="580320"/>
                      <a:pt x="39201" y="516610"/>
                      <a:pt x="39201" y="308485"/>
                    </a:cubicBezTo>
                    <a:cubicBezTo>
                      <a:pt x="39201" y="100360"/>
                      <a:pt x="256808" y="0"/>
                      <a:pt x="552722" y="0"/>
                    </a:cubicBezTo>
                    <a:cubicBezTo>
                      <a:pt x="744447" y="0"/>
                      <a:pt x="933509" y="44246"/>
                      <a:pt x="1065100" y="131408"/>
                    </a:cubicBezTo>
                    <a:lnTo>
                      <a:pt x="913813" y="316176"/>
                    </a:lnTo>
                    <a:cubicBezTo>
                      <a:pt x="810862" y="248573"/>
                      <a:pt x="689641" y="221228"/>
                      <a:pt x="552722" y="221228"/>
                    </a:cubicBezTo>
                    <a:cubicBezTo>
                      <a:pt x="460142" y="221228"/>
                      <a:pt x="353289" y="232907"/>
                      <a:pt x="353289" y="282374"/>
                    </a:cubicBezTo>
                    <a:cubicBezTo>
                      <a:pt x="353289" y="326620"/>
                      <a:pt x="435498" y="335735"/>
                      <a:pt x="582789" y="347508"/>
                    </a:cubicBezTo>
                    <a:cubicBezTo>
                      <a:pt x="887837" y="372195"/>
                      <a:pt x="1104207" y="430777"/>
                      <a:pt x="1104207" y="64668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1C322801-9480-7065-1B3D-0B2A7C7EEF1E}"/>
                  </a:ext>
                </a:extLst>
              </p:cNvPr>
              <p:cNvSpPr/>
              <p:nvPr/>
            </p:nvSpPr>
            <p:spPr>
              <a:xfrm>
                <a:off x="1618167" y="3314412"/>
                <a:ext cx="1039029" cy="910642"/>
              </a:xfrm>
              <a:custGeom>
                <a:avLst/>
                <a:gdLst>
                  <a:gd name="connsiteX0" fmla="*/ 1038934 w 1039029"/>
                  <a:gd name="connsiteY0" fmla="*/ 240692 h 910642"/>
                  <a:gd name="connsiteX1" fmla="*/ 677843 w 1039029"/>
                  <a:gd name="connsiteY1" fmla="*/ 240692 h 910642"/>
                  <a:gd name="connsiteX2" fmla="*/ 677843 w 1039029"/>
                  <a:gd name="connsiteY2" fmla="*/ 910643 h 910642"/>
                  <a:gd name="connsiteX3" fmla="*/ 359854 w 1039029"/>
                  <a:gd name="connsiteY3" fmla="*/ 910643 h 910642"/>
                  <a:gd name="connsiteX4" fmla="*/ 359854 w 1039029"/>
                  <a:gd name="connsiteY4" fmla="*/ 240692 h 910642"/>
                  <a:gd name="connsiteX5" fmla="*/ 0 w 1039029"/>
                  <a:gd name="connsiteY5" fmla="*/ 240692 h 910642"/>
                  <a:gd name="connsiteX6" fmla="*/ 0 w 1039029"/>
                  <a:gd name="connsiteY6" fmla="*/ 0 h 910642"/>
                  <a:gd name="connsiteX7" fmla="*/ 1039029 w 1039029"/>
                  <a:gd name="connsiteY7" fmla="*/ 0 h 910642"/>
                  <a:gd name="connsiteX8" fmla="*/ 1039029 w 1039029"/>
                  <a:gd name="connsiteY8" fmla="*/ 240692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029" h="910642">
                    <a:moveTo>
                      <a:pt x="1038934" y="240692"/>
                    </a:moveTo>
                    <a:lnTo>
                      <a:pt x="677843" y="240692"/>
                    </a:lnTo>
                    <a:lnTo>
                      <a:pt x="677843" y="910643"/>
                    </a:lnTo>
                    <a:lnTo>
                      <a:pt x="359854" y="910643"/>
                    </a:lnTo>
                    <a:lnTo>
                      <a:pt x="359854" y="240692"/>
                    </a:lnTo>
                    <a:lnTo>
                      <a:pt x="0" y="240692"/>
                    </a:lnTo>
                    <a:lnTo>
                      <a:pt x="0" y="0"/>
                    </a:lnTo>
                    <a:lnTo>
                      <a:pt x="1039029" y="0"/>
                    </a:lnTo>
                    <a:lnTo>
                      <a:pt x="1039029" y="240692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4DCD4E40-4E4E-589F-0F18-1204C35210EC}"/>
                  </a:ext>
                </a:extLst>
              </p:cNvPr>
              <p:cNvSpPr/>
              <p:nvPr/>
            </p:nvSpPr>
            <p:spPr>
              <a:xfrm>
                <a:off x="2778893" y="3314412"/>
                <a:ext cx="1091171" cy="940646"/>
              </a:xfrm>
              <a:custGeom>
                <a:avLst/>
                <a:gdLst>
                  <a:gd name="connsiteX0" fmla="*/ 1091171 w 1091171"/>
                  <a:gd name="connsiteY0" fmla="*/ 0 h 940646"/>
                  <a:gd name="connsiteX1" fmla="*/ 1091171 w 1091171"/>
                  <a:gd name="connsiteY1" fmla="*/ 481384 h 940646"/>
                  <a:gd name="connsiteX2" fmla="*/ 546252 w 1091171"/>
                  <a:gd name="connsiteY2" fmla="*/ 940646 h 940646"/>
                  <a:gd name="connsiteX3" fmla="*/ 0 w 1091171"/>
                  <a:gd name="connsiteY3" fmla="*/ 481384 h 940646"/>
                  <a:gd name="connsiteX4" fmla="*/ 0 w 1091171"/>
                  <a:gd name="connsiteY4" fmla="*/ 0 h 940646"/>
                  <a:gd name="connsiteX5" fmla="*/ 317989 w 1091171"/>
                  <a:gd name="connsiteY5" fmla="*/ 0 h 940646"/>
                  <a:gd name="connsiteX6" fmla="*/ 317989 w 1091171"/>
                  <a:gd name="connsiteY6" fmla="*/ 456698 h 940646"/>
                  <a:gd name="connsiteX7" fmla="*/ 546252 w 1091171"/>
                  <a:gd name="connsiteY7" fmla="*/ 689510 h 940646"/>
                  <a:gd name="connsiteX8" fmla="*/ 773087 w 1091171"/>
                  <a:gd name="connsiteY8" fmla="*/ 456698 h 940646"/>
                  <a:gd name="connsiteX9" fmla="*/ 773087 w 1091171"/>
                  <a:gd name="connsiteY9" fmla="*/ 0 h 940646"/>
                  <a:gd name="connsiteX10" fmla="*/ 1091076 w 1091171"/>
                  <a:gd name="connsiteY10" fmla="*/ 0 h 94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171" h="940646">
                    <a:moveTo>
                      <a:pt x="1091171" y="0"/>
                    </a:moveTo>
                    <a:lnTo>
                      <a:pt x="1091171" y="481384"/>
                    </a:lnTo>
                    <a:cubicBezTo>
                      <a:pt x="1091171" y="762429"/>
                      <a:pt x="895640" y="940646"/>
                      <a:pt x="546252" y="940646"/>
                    </a:cubicBezTo>
                    <a:cubicBezTo>
                      <a:pt x="196864" y="940646"/>
                      <a:pt x="0" y="762429"/>
                      <a:pt x="0" y="481384"/>
                    </a:cubicBezTo>
                    <a:lnTo>
                      <a:pt x="0" y="0"/>
                    </a:lnTo>
                    <a:lnTo>
                      <a:pt x="317989" y="0"/>
                    </a:lnTo>
                    <a:lnTo>
                      <a:pt x="317989" y="456698"/>
                    </a:lnTo>
                    <a:cubicBezTo>
                      <a:pt x="317989" y="591998"/>
                      <a:pt x="388494" y="689510"/>
                      <a:pt x="546252" y="689510"/>
                    </a:cubicBezTo>
                    <a:cubicBezTo>
                      <a:pt x="704009" y="689510"/>
                      <a:pt x="773087" y="591903"/>
                      <a:pt x="773087" y="456698"/>
                    </a:cubicBezTo>
                    <a:lnTo>
                      <a:pt x="773087" y="0"/>
                    </a:lnTo>
                    <a:lnTo>
                      <a:pt x="1091076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3A0F9D93-9E6F-3F4D-C178-2EC2E1ED0152}"/>
                  </a:ext>
                </a:extLst>
              </p:cNvPr>
              <p:cNvSpPr/>
              <p:nvPr/>
            </p:nvSpPr>
            <p:spPr>
              <a:xfrm>
                <a:off x="4018116" y="3314412"/>
                <a:ext cx="1113340" cy="910737"/>
              </a:xfrm>
              <a:custGeom>
                <a:avLst/>
                <a:gdLst>
                  <a:gd name="connsiteX0" fmla="*/ 1113341 w 1113340"/>
                  <a:gd name="connsiteY0" fmla="*/ 455369 h 910737"/>
                  <a:gd name="connsiteX1" fmla="*/ 531979 w 1113340"/>
                  <a:gd name="connsiteY1" fmla="*/ 910738 h 910737"/>
                  <a:gd name="connsiteX2" fmla="*/ 0 w 1113340"/>
                  <a:gd name="connsiteY2" fmla="*/ 910738 h 910737"/>
                  <a:gd name="connsiteX3" fmla="*/ 0 w 1113340"/>
                  <a:gd name="connsiteY3" fmla="*/ 0 h 910737"/>
                  <a:gd name="connsiteX4" fmla="*/ 531979 w 1113340"/>
                  <a:gd name="connsiteY4" fmla="*/ 0 h 910737"/>
                  <a:gd name="connsiteX5" fmla="*/ 1113341 w 1113340"/>
                  <a:gd name="connsiteY5" fmla="*/ 455369 h 910737"/>
                  <a:gd name="connsiteX6" fmla="*/ 788692 w 1113340"/>
                  <a:gd name="connsiteY6" fmla="*/ 455369 h 910737"/>
                  <a:gd name="connsiteX7" fmla="*/ 505813 w 1113340"/>
                  <a:gd name="connsiteY7" fmla="*/ 242021 h 910737"/>
                  <a:gd name="connsiteX8" fmla="*/ 318179 w 1113340"/>
                  <a:gd name="connsiteY8" fmla="*/ 242021 h 910737"/>
                  <a:gd name="connsiteX9" fmla="*/ 318179 w 1113340"/>
                  <a:gd name="connsiteY9" fmla="*/ 668716 h 910737"/>
                  <a:gd name="connsiteX10" fmla="*/ 505813 w 1113340"/>
                  <a:gd name="connsiteY10" fmla="*/ 668716 h 910737"/>
                  <a:gd name="connsiteX11" fmla="*/ 788692 w 1113340"/>
                  <a:gd name="connsiteY11" fmla="*/ 455369 h 91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3340" h="910737">
                    <a:moveTo>
                      <a:pt x="1113341" y="455369"/>
                    </a:moveTo>
                    <a:cubicBezTo>
                      <a:pt x="1113341" y="742870"/>
                      <a:pt x="886505" y="910738"/>
                      <a:pt x="531979" y="910738"/>
                    </a:cubicBezTo>
                    <a:lnTo>
                      <a:pt x="0" y="910738"/>
                    </a:lnTo>
                    <a:lnTo>
                      <a:pt x="0" y="0"/>
                    </a:lnTo>
                    <a:lnTo>
                      <a:pt x="531979" y="0"/>
                    </a:lnTo>
                    <a:cubicBezTo>
                      <a:pt x="886505" y="0"/>
                      <a:pt x="1113341" y="166538"/>
                      <a:pt x="1113341" y="455369"/>
                    </a:cubicBezTo>
                    <a:close/>
                    <a:moveTo>
                      <a:pt x="788692" y="455369"/>
                    </a:moveTo>
                    <a:cubicBezTo>
                      <a:pt x="788692" y="317505"/>
                      <a:pt x="680507" y="242021"/>
                      <a:pt x="505813" y="242021"/>
                    </a:cubicBezTo>
                    <a:lnTo>
                      <a:pt x="318179" y="242021"/>
                    </a:lnTo>
                    <a:lnTo>
                      <a:pt x="318179" y="668716"/>
                    </a:lnTo>
                    <a:lnTo>
                      <a:pt x="505813" y="668716"/>
                    </a:lnTo>
                    <a:cubicBezTo>
                      <a:pt x="680507" y="668716"/>
                      <a:pt x="788692" y="593328"/>
                      <a:pt x="788692" y="455369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777510F1-4D03-66E7-F6EA-340A16CD0CF0}"/>
                  </a:ext>
                </a:extLst>
              </p:cNvPr>
              <p:cNvSpPr/>
              <p:nvPr/>
            </p:nvSpPr>
            <p:spPr>
              <a:xfrm>
                <a:off x="5052578" y="3314412"/>
                <a:ext cx="1155111" cy="910642"/>
              </a:xfrm>
              <a:custGeom>
                <a:avLst/>
                <a:gdLst>
                  <a:gd name="connsiteX0" fmla="*/ 350720 w 1155111"/>
                  <a:gd name="connsiteY0" fmla="*/ 0 h 910642"/>
                  <a:gd name="connsiteX1" fmla="*/ 578888 w 1155111"/>
                  <a:gd name="connsiteY1" fmla="*/ 361656 h 910642"/>
                  <a:gd name="connsiteX2" fmla="*/ 805723 w 1155111"/>
                  <a:gd name="connsiteY2" fmla="*/ 0 h 910642"/>
                  <a:gd name="connsiteX3" fmla="*/ 1155112 w 1155111"/>
                  <a:gd name="connsiteY3" fmla="*/ 0 h 910642"/>
                  <a:gd name="connsiteX4" fmla="*/ 736645 w 1155111"/>
                  <a:gd name="connsiteY4" fmla="*/ 607570 h 910642"/>
                  <a:gd name="connsiteX5" fmla="*/ 736645 w 1155111"/>
                  <a:gd name="connsiteY5" fmla="*/ 910643 h 910642"/>
                  <a:gd name="connsiteX6" fmla="*/ 418466 w 1155111"/>
                  <a:gd name="connsiteY6" fmla="*/ 910643 h 910642"/>
                  <a:gd name="connsiteX7" fmla="*/ 418466 w 1155111"/>
                  <a:gd name="connsiteY7" fmla="*/ 607570 h 910642"/>
                  <a:gd name="connsiteX8" fmla="*/ 0 w 1155111"/>
                  <a:gd name="connsiteY8" fmla="*/ 0 h 910642"/>
                  <a:gd name="connsiteX9" fmla="*/ 350720 w 1155111"/>
                  <a:gd name="connsiteY9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5111" h="910642">
                    <a:moveTo>
                      <a:pt x="350720" y="0"/>
                    </a:moveTo>
                    <a:lnTo>
                      <a:pt x="578888" y="361656"/>
                    </a:lnTo>
                    <a:lnTo>
                      <a:pt x="805723" y="0"/>
                    </a:lnTo>
                    <a:lnTo>
                      <a:pt x="1155112" y="0"/>
                    </a:lnTo>
                    <a:lnTo>
                      <a:pt x="736645" y="607570"/>
                    </a:lnTo>
                    <a:lnTo>
                      <a:pt x="736645" y="910643"/>
                    </a:lnTo>
                    <a:lnTo>
                      <a:pt x="418466" y="910643"/>
                    </a:lnTo>
                    <a:lnTo>
                      <a:pt x="418466" y="607570"/>
                    </a:lnTo>
                    <a:lnTo>
                      <a:pt x="0" y="0"/>
                    </a:lnTo>
                    <a:lnTo>
                      <a:pt x="350720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13" name="Graphic 2">
              <a:extLst>
                <a:ext uri="{FF2B5EF4-FFF2-40B4-BE49-F238E27FC236}">
                  <a16:creationId xmlns:a16="http://schemas.microsoft.com/office/drawing/2014/main" id="{C8E60236-23E2-3D5B-0C5D-EA3D475D359C}"/>
                </a:ext>
              </a:extLst>
            </p:cNvPr>
            <p:cNvGrpSpPr/>
            <p:nvPr/>
          </p:nvGrpSpPr>
          <p:grpSpPr>
            <a:xfrm>
              <a:off x="216620" y="4309653"/>
              <a:ext cx="4438329" cy="970554"/>
              <a:chOff x="216620" y="4309653"/>
              <a:chExt cx="4438329" cy="970554"/>
            </a:xfrm>
            <a:grpFill/>
          </p:grpSpPr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CD337F57-6131-AE17-407F-024B187DE94B}"/>
                  </a:ext>
                </a:extLst>
              </p:cNvPr>
              <p:cNvSpPr/>
              <p:nvPr/>
            </p:nvSpPr>
            <p:spPr>
              <a:xfrm>
                <a:off x="216620" y="4339656"/>
                <a:ext cx="1662256" cy="910642"/>
              </a:xfrm>
              <a:custGeom>
                <a:avLst/>
                <a:gdLst>
                  <a:gd name="connsiteX0" fmla="*/ 1662162 w 1662256"/>
                  <a:gd name="connsiteY0" fmla="*/ 0 h 910642"/>
                  <a:gd name="connsiteX1" fmla="*/ 1329710 w 1662256"/>
                  <a:gd name="connsiteY1" fmla="*/ 910643 h 910642"/>
                  <a:gd name="connsiteX2" fmla="*/ 1018192 w 1662256"/>
                  <a:gd name="connsiteY2" fmla="*/ 910643 h 910642"/>
                  <a:gd name="connsiteX3" fmla="*/ 831794 w 1662256"/>
                  <a:gd name="connsiteY3" fmla="*/ 326525 h 910642"/>
                  <a:gd name="connsiteX4" fmla="*/ 644065 w 1662256"/>
                  <a:gd name="connsiteY4" fmla="*/ 910643 h 910642"/>
                  <a:gd name="connsiteX5" fmla="*/ 332451 w 1662256"/>
                  <a:gd name="connsiteY5" fmla="*/ 910643 h 910642"/>
                  <a:gd name="connsiteX6" fmla="*/ 0 w 1662256"/>
                  <a:gd name="connsiteY6" fmla="*/ 0 h 910642"/>
                  <a:gd name="connsiteX7" fmla="*/ 319416 w 1662256"/>
                  <a:gd name="connsiteY7" fmla="*/ 0 h 910642"/>
                  <a:gd name="connsiteX8" fmla="*/ 496679 w 1662256"/>
                  <a:gd name="connsiteY8" fmla="*/ 582788 h 910642"/>
                  <a:gd name="connsiteX9" fmla="*/ 690974 w 1662256"/>
                  <a:gd name="connsiteY9" fmla="*/ 0 h 910642"/>
                  <a:gd name="connsiteX10" fmla="*/ 976516 w 1662256"/>
                  <a:gd name="connsiteY10" fmla="*/ 0 h 910642"/>
                  <a:gd name="connsiteX11" fmla="*/ 1170811 w 1662256"/>
                  <a:gd name="connsiteY11" fmla="*/ 582788 h 910642"/>
                  <a:gd name="connsiteX12" fmla="*/ 1348074 w 1662256"/>
                  <a:gd name="connsiteY12" fmla="*/ 0 h 910642"/>
                  <a:gd name="connsiteX13" fmla="*/ 1662257 w 1662256"/>
                  <a:gd name="connsiteY13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2256" h="910642">
                    <a:moveTo>
                      <a:pt x="1662162" y="0"/>
                    </a:moveTo>
                    <a:lnTo>
                      <a:pt x="1329710" y="910643"/>
                    </a:lnTo>
                    <a:lnTo>
                      <a:pt x="1018192" y="910643"/>
                    </a:lnTo>
                    <a:lnTo>
                      <a:pt x="831794" y="326525"/>
                    </a:lnTo>
                    <a:lnTo>
                      <a:pt x="644065" y="910643"/>
                    </a:lnTo>
                    <a:lnTo>
                      <a:pt x="332451" y="910643"/>
                    </a:lnTo>
                    <a:lnTo>
                      <a:pt x="0" y="0"/>
                    </a:lnTo>
                    <a:lnTo>
                      <a:pt x="319416" y="0"/>
                    </a:lnTo>
                    <a:lnTo>
                      <a:pt x="496679" y="582788"/>
                    </a:lnTo>
                    <a:lnTo>
                      <a:pt x="690974" y="0"/>
                    </a:lnTo>
                    <a:lnTo>
                      <a:pt x="976516" y="0"/>
                    </a:lnTo>
                    <a:lnTo>
                      <a:pt x="1170811" y="582788"/>
                    </a:lnTo>
                    <a:lnTo>
                      <a:pt x="1348074" y="0"/>
                    </a:lnTo>
                    <a:lnTo>
                      <a:pt x="1662257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6AF3095D-49EB-804A-4BD2-5E8B22F0298C}"/>
                  </a:ext>
                </a:extLst>
              </p:cNvPr>
              <p:cNvSpPr/>
              <p:nvPr/>
            </p:nvSpPr>
            <p:spPr>
              <a:xfrm>
                <a:off x="1977451" y="4339656"/>
                <a:ext cx="318178" cy="910642"/>
              </a:xfrm>
              <a:custGeom>
                <a:avLst/>
                <a:gdLst>
                  <a:gd name="connsiteX0" fmla="*/ 0 w 318178"/>
                  <a:gd name="connsiteY0" fmla="*/ 910643 h 910642"/>
                  <a:gd name="connsiteX1" fmla="*/ 0 w 318178"/>
                  <a:gd name="connsiteY1" fmla="*/ 0 h 910642"/>
                  <a:gd name="connsiteX2" fmla="*/ 318179 w 318178"/>
                  <a:gd name="connsiteY2" fmla="*/ 0 h 910642"/>
                  <a:gd name="connsiteX3" fmla="*/ 318179 w 318178"/>
                  <a:gd name="connsiteY3" fmla="*/ 910643 h 910642"/>
                  <a:gd name="connsiteX4" fmla="*/ 0 w 318178"/>
                  <a:gd name="connsiteY4" fmla="*/ 910643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78" h="910642">
                    <a:moveTo>
                      <a:pt x="0" y="910643"/>
                    </a:moveTo>
                    <a:lnTo>
                      <a:pt x="0" y="0"/>
                    </a:lnTo>
                    <a:lnTo>
                      <a:pt x="318179" y="0"/>
                    </a:lnTo>
                    <a:lnTo>
                      <a:pt x="318179" y="910643"/>
                    </a:lnTo>
                    <a:lnTo>
                      <a:pt x="0" y="910643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16112BBF-521F-F9C5-C06C-F7CE358C6A92}"/>
                  </a:ext>
                </a:extLst>
              </p:cNvPr>
              <p:cNvSpPr/>
              <p:nvPr/>
            </p:nvSpPr>
            <p:spPr>
              <a:xfrm>
                <a:off x="2414471" y="4309653"/>
                <a:ext cx="1104492" cy="970554"/>
              </a:xfrm>
              <a:custGeom>
                <a:avLst/>
                <a:gdLst>
                  <a:gd name="connsiteX0" fmla="*/ 1104302 w 1104492"/>
                  <a:gd name="connsiteY0" fmla="*/ 646593 h 970554"/>
                  <a:gd name="connsiteX1" fmla="*/ 590591 w 1104492"/>
                  <a:gd name="connsiteY1" fmla="*/ 970555 h 970554"/>
                  <a:gd name="connsiteX2" fmla="*/ 0 w 1104492"/>
                  <a:gd name="connsiteY2" fmla="*/ 797560 h 970554"/>
                  <a:gd name="connsiteX3" fmla="*/ 157757 w 1104492"/>
                  <a:gd name="connsiteY3" fmla="*/ 615450 h 970554"/>
                  <a:gd name="connsiteX4" fmla="*/ 595824 w 1104492"/>
                  <a:gd name="connsiteY4" fmla="*/ 746763 h 970554"/>
                  <a:gd name="connsiteX5" fmla="*/ 790119 w 1104492"/>
                  <a:gd name="connsiteY5" fmla="*/ 679065 h 970554"/>
                  <a:gd name="connsiteX6" fmla="*/ 568516 w 1104492"/>
                  <a:gd name="connsiteY6" fmla="*/ 604911 h 970554"/>
                  <a:gd name="connsiteX7" fmla="*/ 39201 w 1104492"/>
                  <a:gd name="connsiteY7" fmla="*/ 308295 h 970554"/>
                  <a:gd name="connsiteX8" fmla="*/ 552912 w 1104492"/>
                  <a:gd name="connsiteY8" fmla="*/ 0 h 970554"/>
                  <a:gd name="connsiteX9" fmla="*/ 1065291 w 1104492"/>
                  <a:gd name="connsiteY9" fmla="*/ 131313 h 970554"/>
                  <a:gd name="connsiteX10" fmla="*/ 914098 w 1104492"/>
                  <a:gd name="connsiteY10" fmla="*/ 316081 h 970554"/>
                  <a:gd name="connsiteX11" fmla="*/ 553007 w 1104492"/>
                  <a:gd name="connsiteY11" fmla="*/ 221038 h 970554"/>
                  <a:gd name="connsiteX12" fmla="*/ 353574 w 1104492"/>
                  <a:gd name="connsiteY12" fmla="*/ 282279 h 970554"/>
                  <a:gd name="connsiteX13" fmla="*/ 582979 w 1104492"/>
                  <a:gd name="connsiteY13" fmla="*/ 347318 h 970554"/>
                  <a:gd name="connsiteX14" fmla="*/ 1104492 w 1104492"/>
                  <a:gd name="connsiteY14" fmla="*/ 64649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492" h="970554">
                    <a:moveTo>
                      <a:pt x="1104302" y="646593"/>
                    </a:moveTo>
                    <a:cubicBezTo>
                      <a:pt x="1104302" y="843135"/>
                      <a:pt x="928276" y="970555"/>
                      <a:pt x="590591" y="970555"/>
                    </a:cubicBezTo>
                    <a:cubicBezTo>
                      <a:pt x="353384" y="970555"/>
                      <a:pt x="147386" y="908174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763"/>
                      <a:pt x="595824" y="746763"/>
                    </a:cubicBezTo>
                    <a:cubicBezTo>
                      <a:pt x="726274" y="746763"/>
                      <a:pt x="790119" y="724640"/>
                      <a:pt x="790119" y="679065"/>
                    </a:cubicBezTo>
                    <a:cubicBezTo>
                      <a:pt x="790119" y="633491"/>
                      <a:pt x="737977" y="619343"/>
                      <a:pt x="568516" y="604911"/>
                    </a:cubicBezTo>
                    <a:cubicBezTo>
                      <a:pt x="288302" y="580225"/>
                      <a:pt x="39201" y="516420"/>
                      <a:pt x="39201" y="308295"/>
                    </a:cubicBezTo>
                    <a:cubicBezTo>
                      <a:pt x="39201" y="100170"/>
                      <a:pt x="256903" y="0"/>
                      <a:pt x="552912" y="0"/>
                    </a:cubicBezTo>
                    <a:cubicBezTo>
                      <a:pt x="744542" y="0"/>
                      <a:pt x="933604" y="44151"/>
                      <a:pt x="1065291" y="131313"/>
                    </a:cubicBezTo>
                    <a:lnTo>
                      <a:pt x="914098" y="316081"/>
                    </a:lnTo>
                    <a:cubicBezTo>
                      <a:pt x="811052" y="248383"/>
                      <a:pt x="689832" y="221038"/>
                      <a:pt x="553007" y="221038"/>
                    </a:cubicBezTo>
                    <a:cubicBezTo>
                      <a:pt x="460427" y="221038"/>
                      <a:pt x="353574" y="232812"/>
                      <a:pt x="353574" y="282279"/>
                    </a:cubicBezTo>
                    <a:cubicBezTo>
                      <a:pt x="353574" y="326430"/>
                      <a:pt x="435688" y="335545"/>
                      <a:pt x="582979" y="347318"/>
                    </a:cubicBezTo>
                    <a:cubicBezTo>
                      <a:pt x="888028" y="372005"/>
                      <a:pt x="1104492" y="430588"/>
                      <a:pt x="1104492" y="64649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9CEE7A33-9286-FFA9-AC30-117527430257}"/>
                  </a:ext>
                </a:extLst>
              </p:cNvPr>
              <p:cNvSpPr/>
              <p:nvPr/>
            </p:nvSpPr>
            <p:spPr>
              <a:xfrm>
                <a:off x="3652362" y="4339656"/>
                <a:ext cx="1002587" cy="910642"/>
              </a:xfrm>
              <a:custGeom>
                <a:avLst/>
                <a:gdLst>
                  <a:gd name="connsiteX0" fmla="*/ 1002492 w 1002587"/>
                  <a:gd name="connsiteY0" fmla="*/ 681629 h 910642"/>
                  <a:gd name="connsiteX1" fmla="*/ 1002492 w 1002587"/>
                  <a:gd name="connsiteY1" fmla="*/ 910643 h 910642"/>
                  <a:gd name="connsiteX2" fmla="*/ 0 w 1002587"/>
                  <a:gd name="connsiteY2" fmla="*/ 910643 h 910642"/>
                  <a:gd name="connsiteX3" fmla="*/ 0 w 1002587"/>
                  <a:gd name="connsiteY3" fmla="*/ 0 h 910642"/>
                  <a:gd name="connsiteX4" fmla="*/ 988220 w 1002587"/>
                  <a:gd name="connsiteY4" fmla="*/ 0 h 910642"/>
                  <a:gd name="connsiteX5" fmla="*/ 988220 w 1002587"/>
                  <a:gd name="connsiteY5" fmla="*/ 229014 h 910642"/>
                  <a:gd name="connsiteX6" fmla="*/ 311614 w 1002587"/>
                  <a:gd name="connsiteY6" fmla="*/ 229014 h 910642"/>
                  <a:gd name="connsiteX7" fmla="*/ 311614 w 1002587"/>
                  <a:gd name="connsiteY7" fmla="*/ 344755 h 910642"/>
                  <a:gd name="connsiteX8" fmla="*/ 863098 w 1002587"/>
                  <a:gd name="connsiteY8" fmla="*/ 344755 h 910642"/>
                  <a:gd name="connsiteX9" fmla="*/ 863098 w 1002587"/>
                  <a:gd name="connsiteY9" fmla="*/ 555444 h 910642"/>
                  <a:gd name="connsiteX10" fmla="*/ 311614 w 1002587"/>
                  <a:gd name="connsiteY10" fmla="*/ 555444 h 910642"/>
                  <a:gd name="connsiteX11" fmla="*/ 311614 w 1002587"/>
                  <a:gd name="connsiteY11" fmla="*/ 681629 h 910642"/>
                  <a:gd name="connsiteX12" fmla="*/ 1002587 w 1002587"/>
                  <a:gd name="connsiteY12" fmla="*/ 681629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2587" h="910642">
                    <a:moveTo>
                      <a:pt x="1002492" y="681629"/>
                    </a:moveTo>
                    <a:lnTo>
                      <a:pt x="1002492" y="910643"/>
                    </a:lnTo>
                    <a:lnTo>
                      <a:pt x="0" y="910643"/>
                    </a:lnTo>
                    <a:lnTo>
                      <a:pt x="0" y="0"/>
                    </a:lnTo>
                    <a:lnTo>
                      <a:pt x="988220" y="0"/>
                    </a:lnTo>
                    <a:lnTo>
                      <a:pt x="988220" y="229014"/>
                    </a:lnTo>
                    <a:lnTo>
                      <a:pt x="311614" y="229014"/>
                    </a:lnTo>
                    <a:lnTo>
                      <a:pt x="311614" y="344755"/>
                    </a:lnTo>
                    <a:lnTo>
                      <a:pt x="863098" y="344755"/>
                    </a:lnTo>
                    <a:lnTo>
                      <a:pt x="863098" y="555444"/>
                    </a:lnTo>
                    <a:lnTo>
                      <a:pt x="311614" y="555444"/>
                    </a:lnTo>
                    <a:lnTo>
                      <a:pt x="311614" y="681629"/>
                    </a:lnTo>
                    <a:lnTo>
                      <a:pt x="1002587" y="681629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sp>
        <p:nvSpPr>
          <p:cNvPr id="27" name="Tijdelijke aanduiding voor tekst 26">
            <a:extLst>
              <a:ext uri="{FF2B5EF4-FFF2-40B4-BE49-F238E27FC236}">
                <a16:creationId xmlns:a16="http://schemas.microsoft.com/office/drawing/2014/main" id="{95DCC372-38BA-4454-672B-44E05F573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565" y="1560513"/>
            <a:ext cx="7534835" cy="4543166"/>
          </a:xfrm>
        </p:spPr>
        <p:txBody>
          <a:bodyPr/>
          <a:lstStyle>
            <a:lvl1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1pPr>
            <a:lvl2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2pPr>
            <a:lvl3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3pPr>
            <a:lvl4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4pPr>
            <a:lvl5pPr marL="447675" indent="-180975">
              <a:buClr>
                <a:srgbClr val="AA8FC2"/>
              </a:buClr>
              <a:tabLst/>
              <a:defRPr>
                <a:solidFill>
                  <a:srgbClr val="102F44"/>
                </a:solidFill>
              </a:defRPr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35" name="Tijdelijke aanduiding voor afbeelding 34">
            <a:extLst>
              <a:ext uri="{FF2B5EF4-FFF2-40B4-BE49-F238E27FC236}">
                <a16:creationId xmlns:a16="http://schemas.microsoft.com/office/drawing/2014/main" id="{975198A2-57BA-F786-0D72-4481C91C6A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10600" y="895455"/>
            <a:ext cx="3581397" cy="5651338"/>
          </a:xfrm>
          <a:custGeom>
            <a:avLst/>
            <a:gdLst>
              <a:gd name="connsiteX0" fmla="*/ 1066854 w 3581397"/>
              <a:gd name="connsiteY0" fmla="*/ 0 h 5651338"/>
              <a:gd name="connsiteX1" fmla="*/ 3581397 w 3581397"/>
              <a:gd name="connsiteY1" fmla="*/ 0 h 5651338"/>
              <a:gd name="connsiteX2" fmla="*/ 3581397 w 3581397"/>
              <a:gd name="connsiteY2" fmla="*/ 5651338 h 5651338"/>
              <a:gd name="connsiteX3" fmla="*/ 0 w 3581397"/>
              <a:gd name="connsiteY3" fmla="*/ 5651338 h 5651338"/>
              <a:gd name="connsiteX4" fmla="*/ 0 w 3581397"/>
              <a:gd name="connsiteY4" fmla="*/ 243264 h 5651338"/>
              <a:gd name="connsiteX5" fmla="*/ 817967 w 3581397"/>
              <a:gd name="connsiteY5" fmla="*/ 243264 h 5651338"/>
              <a:gd name="connsiteX6" fmla="*/ 1048605 w 3581397"/>
              <a:gd name="connsiteY6" fmla="*/ 90387 h 5651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1397" h="5651338">
                <a:moveTo>
                  <a:pt x="1066854" y="0"/>
                </a:moveTo>
                <a:lnTo>
                  <a:pt x="3581397" y="0"/>
                </a:lnTo>
                <a:lnTo>
                  <a:pt x="3581397" y="5651338"/>
                </a:lnTo>
                <a:lnTo>
                  <a:pt x="0" y="5651338"/>
                </a:lnTo>
                <a:lnTo>
                  <a:pt x="0" y="243264"/>
                </a:lnTo>
                <a:lnTo>
                  <a:pt x="817967" y="243264"/>
                </a:lnTo>
                <a:cubicBezTo>
                  <a:pt x="921648" y="243264"/>
                  <a:pt x="1010607" y="180226"/>
                  <a:pt x="1048605" y="90387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nl-NL"/>
          </a:p>
        </p:txBody>
      </p:sp>
      <p:sp>
        <p:nvSpPr>
          <p:cNvPr id="23" name="Vrije vorm 22">
            <a:extLst>
              <a:ext uri="{FF2B5EF4-FFF2-40B4-BE49-F238E27FC236}">
                <a16:creationId xmlns:a16="http://schemas.microsoft.com/office/drawing/2014/main" id="{6FC2BFBA-3EFB-AE5D-0FE8-25EF84DD7C1D}"/>
              </a:ext>
            </a:extLst>
          </p:cNvPr>
          <p:cNvSpPr/>
          <p:nvPr userDrawn="1"/>
        </p:nvSpPr>
        <p:spPr>
          <a:xfrm>
            <a:off x="-12573" y="553868"/>
            <a:ext cx="9691449" cy="587441"/>
          </a:xfrm>
          <a:custGeom>
            <a:avLst/>
            <a:gdLst>
              <a:gd name="connsiteX0" fmla="*/ 0 w 9691449"/>
              <a:gd name="connsiteY0" fmla="*/ 0 h 587441"/>
              <a:gd name="connsiteX1" fmla="*/ 250309 w 9691449"/>
              <a:gd name="connsiteY1" fmla="*/ 0 h 587441"/>
              <a:gd name="connsiteX2" fmla="*/ 5460873 w 9691449"/>
              <a:gd name="connsiteY2" fmla="*/ 0 h 587441"/>
              <a:gd name="connsiteX3" fmla="*/ 9441140 w 9691449"/>
              <a:gd name="connsiteY3" fmla="*/ 0 h 587441"/>
              <a:gd name="connsiteX4" fmla="*/ 9691449 w 9691449"/>
              <a:gd name="connsiteY4" fmla="*/ 0 h 587441"/>
              <a:gd name="connsiteX5" fmla="*/ 9691449 w 9691449"/>
              <a:gd name="connsiteY5" fmla="*/ 250309 h 587441"/>
              <a:gd name="connsiteX6" fmla="*/ 9691449 w 9691449"/>
              <a:gd name="connsiteY6" fmla="*/ 293723 h 587441"/>
              <a:gd name="connsiteX7" fmla="*/ 9691449 w 9691449"/>
              <a:gd name="connsiteY7" fmla="*/ 337132 h 587441"/>
              <a:gd name="connsiteX8" fmla="*/ 9441140 w 9691449"/>
              <a:gd name="connsiteY8" fmla="*/ 587441 h 587441"/>
              <a:gd name="connsiteX9" fmla="*/ 5460873 w 9691449"/>
              <a:gd name="connsiteY9" fmla="*/ 587441 h 587441"/>
              <a:gd name="connsiteX10" fmla="*/ 250309 w 9691449"/>
              <a:gd name="connsiteY10" fmla="*/ 587441 h 587441"/>
              <a:gd name="connsiteX11" fmla="*/ 0 w 9691449"/>
              <a:gd name="connsiteY11" fmla="*/ 587441 h 587441"/>
              <a:gd name="connsiteX12" fmla="*/ 0 w 9691449"/>
              <a:gd name="connsiteY12" fmla="*/ 337132 h 587441"/>
              <a:gd name="connsiteX13" fmla="*/ 0 w 9691449"/>
              <a:gd name="connsiteY13" fmla="*/ 293723 h 587441"/>
              <a:gd name="connsiteX14" fmla="*/ 0 w 9691449"/>
              <a:gd name="connsiteY14" fmla="*/ 250309 h 587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91449" h="587441">
                <a:moveTo>
                  <a:pt x="0" y="0"/>
                </a:moveTo>
                <a:lnTo>
                  <a:pt x="250309" y="0"/>
                </a:lnTo>
                <a:lnTo>
                  <a:pt x="5460873" y="0"/>
                </a:lnTo>
                <a:lnTo>
                  <a:pt x="9441140" y="0"/>
                </a:lnTo>
                <a:lnTo>
                  <a:pt x="9691449" y="0"/>
                </a:lnTo>
                <a:lnTo>
                  <a:pt x="9691449" y="250309"/>
                </a:lnTo>
                <a:lnTo>
                  <a:pt x="9691449" y="293723"/>
                </a:lnTo>
                <a:lnTo>
                  <a:pt x="9691449" y="337132"/>
                </a:lnTo>
                <a:cubicBezTo>
                  <a:pt x="9691449" y="475374"/>
                  <a:pt x="9579382" y="587441"/>
                  <a:pt x="9441140" y="587441"/>
                </a:cubicBezTo>
                <a:lnTo>
                  <a:pt x="5460873" y="587441"/>
                </a:lnTo>
                <a:lnTo>
                  <a:pt x="250309" y="587441"/>
                </a:lnTo>
                <a:lnTo>
                  <a:pt x="0" y="587441"/>
                </a:lnTo>
                <a:lnTo>
                  <a:pt x="0" y="337132"/>
                </a:lnTo>
                <a:lnTo>
                  <a:pt x="0" y="293723"/>
                </a:lnTo>
                <a:lnTo>
                  <a:pt x="0" y="250309"/>
                </a:lnTo>
                <a:close/>
              </a:path>
            </a:pathLst>
          </a:cu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2C0264-FD71-4E12-4079-1CF611EE7D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2573" y="560684"/>
            <a:ext cx="9027435" cy="587441"/>
          </a:xfrm>
        </p:spPr>
        <p:txBody>
          <a:bodyPr lIns="720000" anchor="ctr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5524451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F28FB903-D541-4968-74A5-6ED201A5F1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F7CC5752-142D-3D70-467A-A0F7B1BA2F1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D578CBCA-33D8-ED0B-78F9-1912EEB2E8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3528070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stimonials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5B7C4AF-723F-A843-A5A6-7C76B11451F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4440931" y="1630681"/>
            <a:ext cx="3310139" cy="2910840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34B5CD6-EA70-FA49-B62C-0E50467F74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760610" y="1630681"/>
            <a:ext cx="3310139" cy="2910840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88A0EBF0-B580-5E48-8130-F3E85FDC5E92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121251" y="1630681"/>
            <a:ext cx="3310139" cy="2910840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353478928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stimon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C3F383BC-E164-3A44-98BC-46D3059967A0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3536699" y="1243013"/>
            <a:ext cx="8655302" cy="5614988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2453599643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ull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Picture Placeholder 7">
            <a:extLst>
              <a:ext uri="{FF2B5EF4-FFF2-40B4-BE49-F238E27FC236}">
                <a16:creationId xmlns:a16="http://schemas.microsoft.com/office/drawing/2014/main" id="{6B7AC509-684A-DF42-A9B5-12FF1C0A1DC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0"/>
            <a:ext cx="12192001" cy="685800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001389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Picture Placeholder 7">
            <a:extLst>
              <a:ext uri="{FF2B5EF4-FFF2-40B4-BE49-F238E27FC236}">
                <a16:creationId xmlns:a16="http://schemas.microsoft.com/office/drawing/2014/main" id="{D9195579-4F64-3B4C-AA38-6C389B9E376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800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5545669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r Servic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Picture Placeholder 7">
            <a:extLst>
              <a:ext uri="{FF2B5EF4-FFF2-40B4-BE49-F238E27FC236}">
                <a16:creationId xmlns:a16="http://schemas.microsoft.com/office/drawing/2014/main" id="{356F6471-0E85-2742-BE04-5CFC1CD292D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0"/>
            <a:ext cx="12191999" cy="238125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772125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Our Services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Picture Placeholder 7">
            <a:extLst>
              <a:ext uri="{FF2B5EF4-FFF2-40B4-BE49-F238E27FC236}">
                <a16:creationId xmlns:a16="http://schemas.microsoft.com/office/drawing/2014/main" id="{356F6471-0E85-2742-BE04-5CFC1CD292D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018512" y="0"/>
            <a:ext cx="5282824" cy="685800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70349768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vel Pack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60611" y="1463040"/>
            <a:ext cx="3300383" cy="501396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3" name="Picture Placeholder 7">
            <a:extLst>
              <a:ext uri="{FF2B5EF4-FFF2-40B4-BE49-F238E27FC236}">
                <a16:creationId xmlns:a16="http://schemas.microsoft.com/office/drawing/2014/main" id="{193D91F9-4289-6C47-A889-CCA385864CA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45809" y="1463040"/>
            <a:ext cx="3300383" cy="501396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4" name="Picture Placeholder 7">
            <a:extLst>
              <a:ext uri="{FF2B5EF4-FFF2-40B4-BE49-F238E27FC236}">
                <a16:creationId xmlns:a16="http://schemas.microsoft.com/office/drawing/2014/main" id="{0C54385C-6A37-504F-B860-9F8DDC7CA7A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31007" y="1463040"/>
            <a:ext cx="3300383" cy="501396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924504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tina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Picture Placeholder 7">
            <a:extLst>
              <a:ext uri="{FF2B5EF4-FFF2-40B4-BE49-F238E27FC236}">
                <a16:creationId xmlns:a16="http://schemas.microsoft.com/office/drawing/2014/main" id="{568E1A06-4995-184D-AFCB-9EB32BB5A8C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0611" y="1463040"/>
            <a:ext cx="2560987" cy="389636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4" name="Picture Placeholder 7">
            <a:extLst>
              <a:ext uri="{FF2B5EF4-FFF2-40B4-BE49-F238E27FC236}">
                <a16:creationId xmlns:a16="http://schemas.microsoft.com/office/drawing/2014/main" id="{46260552-A241-C146-B13A-900CF57A4EBA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465780" y="1463040"/>
            <a:ext cx="2560987" cy="389636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5" name="Picture Placeholder 7">
            <a:extLst>
              <a:ext uri="{FF2B5EF4-FFF2-40B4-BE49-F238E27FC236}">
                <a16:creationId xmlns:a16="http://schemas.microsoft.com/office/drawing/2014/main" id="{DA7E9332-48FD-124F-845B-FB9C5A3B70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173966" y="1463040"/>
            <a:ext cx="2560987" cy="389636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6" name="Picture Placeholder 7">
            <a:extLst>
              <a:ext uri="{FF2B5EF4-FFF2-40B4-BE49-F238E27FC236}">
                <a16:creationId xmlns:a16="http://schemas.microsoft.com/office/drawing/2014/main" id="{883C0043-2E8A-2E4B-BFDD-B3697FB0C2F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70402" y="1463040"/>
            <a:ext cx="2560987" cy="3896360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38107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Picture Placeholder 17">
            <a:extLst>
              <a:ext uri="{FF2B5EF4-FFF2-40B4-BE49-F238E27FC236}">
                <a16:creationId xmlns:a16="http://schemas.microsoft.com/office/drawing/2014/main" id="{B1BA39DF-E2D8-464B-AD37-7D50CC71418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60610" y="1629919"/>
            <a:ext cx="4086972" cy="2888708"/>
          </a:xfrm>
          <a:custGeom>
            <a:avLst/>
            <a:gdLst>
              <a:gd name="connsiteX0" fmla="*/ 0 w 2019300"/>
              <a:gd name="connsiteY0" fmla="*/ 0 h 1762125"/>
              <a:gd name="connsiteX1" fmla="*/ 2019300 w 2019300"/>
              <a:gd name="connsiteY1" fmla="*/ 0 h 1762125"/>
              <a:gd name="connsiteX2" fmla="*/ 2019300 w 2019300"/>
              <a:gd name="connsiteY2" fmla="*/ 1762125 h 1762125"/>
              <a:gd name="connsiteX3" fmla="*/ 0 w 2019300"/>
              <a:gd name="connsiteY3" fmla="*/ 1762125 h 176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9300" h="1762125">
                <a:moveTo>
                  <a:pt x="0" y="0"/>
                </a:moveTo>
                <a:lnTo>
                  <a:pt x="2019300" y="0"/>
                </a:lnTo>
                <a:lnTo>
                  <a:pt x="2019300" y="1762125"/>
                </a:lnTo>
                <a:lnTo>
                  <a:pt x="0" y="17621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4" name="Picture Placeholder 17">
            <a:extLst>
              <a:ext uri="{FF2B5EF4-FFF2-40B4-BE49-F238E27FC236}">
                <a16:creationId xmlns:a16="http://schemas.microsoft.com/office/drawing/2014/main" id="{96C1FB13-42D8-4D41-82C7-EAA6304861B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344418" y="3588293"/>
            <a:ext cx="4086972" cy="2888708"/>
          </a:xfrm>
          <a:custGeom>
            <a:avLst/>
            <a:gdLst>
              <a:gd name="connsiteX0" fmla="*/ 0 w 2019300"/>
              <a:gd name="connsiteY0" fmla="*/ 0 h 1762125"/>
              <a:gd name="connsiteX1" fmla="*/ 2019300 w 2019300"/>
              <a:gd name="connsiteY1" fmla="*/ 0 h 1762125"/>
              <a:gd name="connsiteX2" fmla="*/ 2019300 w 2019300"/>
              <a:gd name="connsiteY2" fmla="*/ 1762125 h 1762125"/>
              <a:gd name="connsiteX3" fmla="*/ 0 w 2019300"/>
              <a:gd name="connsiteY3" fmla="*/ 1762125 h 176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9300" h="1762125">
                <a:moveTo>
                  <a:pt x="0" y="0"/>
                </a:moveTo>
                <a:lnTo>
                  <a:pt x="2019300" y="0"/>
                </a:lnTo>
                <a:lnTo>
                  <a:pt x="2019300" y="1762125"/>
                </a:lnTo>
                <a:lnTo>
                  <a:pt x="0" y="17621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179499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8" name="Picture Placeholder 17"/>
          <p:cNvSpPr>
            <a:spLocks noGrp="1"/>
          </p:cNvSpPr>
          <p:nvPr>
            <p:ph type="pic" sz="quarter" idx="13"/>
          </p:nvPr>
        </p:nvSpPr>
        <p:spPr>
          <a:xfrm>
            <a:off x="3985982" y="1428751"/>
            <a:ext cx="2019300" cy="1762125"/>
          </a:xfrm>
          <a:custGeom>
            <a:avLst/>
            <a:gdLst>
              <a:gd name="connsiteX0" fmla="*/ 0 w 2019300"/>
              <a:gd name="connsiteY0" fmla="*/ 0 h 1762125"/>
              <a:gd name="connsiteX1" fmla="*/ 2019300 w 2019300"/>
              <a:gd name="connsiteY1" fmla="*/ 0 h 1762125"/>
              <a:gd name="connsiteX2" fmla="*/ 2019300 w 2019300"/>
              <a:gd name="connsiteY2" fmla="*/ 1762125 h 1762125"/>
              <a:gd name="connsiteX3" fmla="*/ 0 w 2019300"/>
              <a:gd name="connsiteY3" fmla="*/ 1762125 h 176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9300" h="1762125">
                <a:moveTo>
                  <a:pt x="0" y="0"/>
                </a:moveTo>
                <a:lnTo>
                  <a:pt x="2019300" y="0"/>
                </a:lnTo>
                <a:lnTo>
                  <a:pt x="2019300" y="1762125"/>
                </a:lnTo>
                <a:lnTo>
                  <a:pt x="0" y="17621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19" name="Picture Placeholder 18"/>
          <p:cNvSpPr>
            <a:spLocks noGrp="1"/>
          </p:cNvSpPr>
          <p:nvPr>
            <p:ph type="pic" sz="quarter" idx="14"/>
          </p:nvPr>
        </p:nvSpPr>
        <p:spPr>
          <a:xfrm>
            <a:off x="6195782" y="1428751"/>
            <a:ext cx="2019300" cy="1762125"/>
          </a:xfrm>
          <a:custGeom>
            <a:avLst/>
            <a:gdLst>
              <a:gd name="connsiteX0" fmla="*/ 0 w 2019300"/>
              <a:gd name="connsiteY0" fmla="*/ 0 h 1762125"/>
              <a:gd name="connsiteX1" fmla="*/ 2019300 w 2019300"/>
              <a:gd name="connsiteY1" fmla="*/ 0 h 1762125"/>
              <a:gd name="connsiteX2" fmla="*/ 2019300 w 2019300"/>
              <a:gd name="connsiteY2" fmla="*/ 1762125 h 1762125"/>
              <a:gd name="connsiteX3" fmla="*/ 0 w 2019300"/>
              <a:gd name="connsiteY3" fmla="*/ 1762125 h 176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9300" h="1762125">
                <a:moveTo>
                  <a:pt x="0" y="0"/>
                </a:moveTo>
                <a:lnTo>
                  <a:pt x="2019300" y="0"/>
                </a:lnTo>
                <a:lnTo>
                  <a:pt x="2019300" y="1762125"/>
                </a:lnTo>
                <a:lnTo>
                  <a:pt x="0" y="17621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20" name="Picture Placeholder 19"/>
          <p:cNvSpPr>
            <a:spLocks noGrp="1"/>
          </p:cNvSpPr>
          <p:nvPr>
            <p:ph type="pic" sz="quarter" idx="15"/>
          </p:nvPr>
        </p:nvSpPr>
        <p:spPr>
          <a:xfrm>
            <a:off x="6195782" y="3364612"/>
            <a:ext cx="2019300" cy="1762125"/>
          </a:xfrm>
          <a:custGeom>
            <a:avLst/>
            <a:gdLst>
              <a:gd name="connsiteX0" fmla="*/ 0 w 2019300"/>
              <a:gd name="connsiteY0" fmla="*/ 0 h 1762125"/>
              <a:gd name="connsiteX1" fmla="*/ 2019300 w 2019300"/>
              <a:gd name="connsiteY1" fmla="*/ 0 h 1762125"/>
              <a:gd name="connsiteX2" fmla="*/ 2019300 w 2019300"/>
              <a:gd name="connsiteY2" fmla="*/ 1762125 h 1762125"/>
              <a:gd name="connsiteX3" fmla="*/ 0 w 2019300"/>
              <a:gd name="connsiteY3" fmla="*/ 1762125 h 176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9300" h="1762125">
                <a:moveTo>
                  <a:pt x="0" y="0"/>
                </a:moveTo>
                <a:lnTo>
                  <a:pt x="2019300" y="0"/>
                </a:lnTo>
                <a:lnTo>
                  <a:pt x="2019300" y="1762125"/>
                </a:lnTo>
                <a:lnTo>
                  <a:pt x="0" y="17621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17" name="Picture Placeholder 16"/>
          <p:cNvSpPr>
            <a:spLocks noGrp="1"/>
          </p:cNvSpPr>
          <p:nvPr>
            <p:ph type="pic" sz="quarter" idx="16"/>
          </p:nvPr>
        </p:nvSpPr>
        <p:spPr>
          <a:xfrm>
            <a:off x="3985982" y="3364612"/>
            <a:ext cx="2019300" cy="1762125"/>
          </a:xfrm>
          <a:custGeom>
            <a:avLst/>
            <a:gdLst>
              <a:gd name="connsiteX0" fmla="*/ 0 w 2019300"/>
              <a:gd name="connsiteY0" fmla="*/ 0 h 1762125"/>
              <a:gd name="connsiteX1" fmla="*/ 2019300 w 2019300"/>
              <a:gd name="connsiteY1" fmla="*/ 0 h 1762125"/>
              <a:gd name="connsiteX2" fmla="*/ 2019300 w 2019300"/>
              <a:gd name="connsiteY2" fmla="*/ 1762125 h 1762125"/>
              <a:gd name="connsiteX3" fmla="*/ 0 w 2019300"/>
              <a:gd name="connsiteY3" fmla="*/ 1762125 h 1762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019300" h="1762125">
                <a:moveTo>
                  <a:pt x="0" y="0"/>
                </a:moveTo>
                <a:lnTo>
                  <a:pt x="2019300" y="0"/>
                </a:lnTo>
                <a:lnTo>
                  <a:pt x="2019300" y="1762125"/>
                </a:lnTo>
                <a:lnTo>
                  <a:pt x="0" y="1762125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612117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5999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086" indent="0" algn="ctr">
              <a:buNone/>
              <a:defRPr sz="2000"/>
            </a:lvl2pPr>
            <a:lvl3pPr marL="914172" indent="0" algn="ctr">
              <a:buNone/>
              <a:defRPr sz="1800"/>
            </a:lvl3pPr>
            <a:lvl4pPr marL="1371257" indent="0" algn="ctr">
              <a:buNone/>
              <a:defRPr sz="1600"/>
            </a:lvl4pPr>
            <a:lvl5pPr marL="1828343" indent="0" algn="ctr">
              <a:buNone/>
              <a:defRPr sz="1600"/>
            </a:lvl5pPr>
            <a:lvl6pPr marL="2285429" indent="0" algn="ctr">
              <a:buNone/>
              <a:defRPr sz="1600"/>
            </a:lvl6pPr>
            <a:lvl7pPr marL="2742514" indent="0" algn="ctr">
              <a:buNone/>
              <a:defRPr sz="1600"/>
            </a:lvl7pPr>
            <a:lvl8pPr marL="3199600" indent="0" algn="ctr">
              <a:buNone/>
              <a:defRPr sz="1600"/>
            </a:lvl8pPr>
            <a:lvl9pPr marL="3656686" indent="0" algn="ctr">
              <a:buNone/>
              <a:defRPr sz="1600"/>
            </a:lvl9pPr>
          </a:lstStyle>
          <a:p>
            <a:r>
              <a:rPr lang="nl-NL"/>
              <a:t>Klikken om de ondertitelstijl van het model te bewerk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565024539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" name="Picture Placeholder 3">
            <a:extLst>
              <a:ext uri="{FF2B5EF4-FFF2-40B4-BE49-F238E27FC236}">
                <a16:creationId xmlns:a16="http://schemas.microsoft.com/office/drawing/2014/main" id="{DAADC000-8D24-8F47-888C-8091210ECBBC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2661154" y="0"/>
            <a:ext cx="9530847" cy="6858000"/>
          </a:xfrm>
          <a:custGeom>
            <a:avLst/>
            <a:gdLst>
              <a:gd name="connsiteX0" fmla="*/ 8278154 w 19056731"/>
              <a:gd name="connsiteY0" fmla="*/ 0 h 13716000"/>
              <a:gd name="connsiteX1" fmla="*/ 19056731 w 19056731"/>
              <a:gd name="connsiteY1" fmla="*/ 0 h 13716000"/>
              <a:gd name="connsiteX2" fmla="*/ 19056731 w 19056731"/>
              <a:gd name="connsiteY2" fmla="*/ 13716000 h 13716000"/>
              <a:gd name="connsiteX3" fmla="*/ 0 w 19056731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056731" h="13716000">
                <a:moveTo>
                  <a:pt x="8278154" y="0"/>
                </a:moveTo>
                <a:lnTo>
                  <a:pt x="19056731" y="0"/>
                </a:lnTo>
                <a:lnTo>
                  <a:pt x="19056731" y="13716000"/>
                </a:lnTo>
                <a:lnTo>
                  <a:pt x="0" y="137160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51914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Picture Placeholder 7">
            <a:extLst>
              <a:ext uri="{FF2B5EF4-FFF2-40B4-BE49-F238E27FC236}">
                <a16:creationId xmlns:a16="http://schemas.microsoft.com/office/drawing/2014/main" id="{486B5B5D-86AD-E14A-9FE3-48D9828177E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565600" y="1265672"/>
            <a:ext cx="3060802" cy="2605664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4" name="Picture Placeholder 7">
            <a:extLst>
              <a:ext uri="{FF2B5EF4-FFF2-40B4-BE49-F238E27FC236}">
                <a16:creationId xmlns:a16="http://schemas.microsoft.com/office/drawing/2014/main" id="{BA640023-6D4F-A24B-89F6-8CD63F0B350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65599" y="3871336"/>
            <a:ext cx="3060802" cy="2605664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5" name="Picture Placeholder 7">
            <a:extLst>
              <a:ext uri="{FF2B5EF4-FFF2-40B4-BE49-F238E27FC236}">
                <a16:creationId xmlns:a16="http://schemas.microsoft.com/office/drawing/2014/main" id="{A636DDFA-1C71-CB4B-B7D7-560A08042B3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26401" y="2568504"/>
            <a:ext cx="3060802" cy="2605664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 useBgFill="1">
        <p:nvSpPr>
          <p:cNvPr id="6" name="Picture Placeholder 7">
            <a:extLst>
              <a:ext uri="{FF2B5EF4-FFF2-40B4-BE49-F238E27FC236}">
                <a16:creationId xmlns:a16="http://schemas.microsoft.com/office/drawing/2014/main" id="{AA46244D-1898-C04D-893A-F73B5214730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504797" y="2568504"/>
            <a:ext cx="3060802" cy="2605664"/>
          </a:xfrm>
          <a:custGeom>
            <a:avLst/>
            <a:gdLst>
              <a:gd name="connsiteX0" fmla="*/ 0 w 3676650"/>
              <a:gd name="connsiteY0" fmla="*/ 0 h 5486400"/>
              <a:gd name="connsiteX1" fmla="*/ 3676650 w 3676650"/>
              <a:gd name="connsiteY1" fmla="*/ 0 h 5486400"/>
              <a:gd name="connsiteX2" fmla="*/ 3676650 w 3676650"/>
              <a:gd name="connsiteY2" fmla="*/ 5486400 h 5486400"/>
              <a:gd name="connsiteX3" fmla="*/ 0 w 3676650"/>
              <a:gd name="connsiteY3" fmla="*/ 5486400 h 5486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76650" h="5486400">
                <a:moveTo>
                  <a:pt x="0" y="0"/>
                </a:moveTo>
                <a:lnTo>
                  <a:pt x="3676650" y="0"/>
                </a:lnTo>
                <a:lnTo>
                  <a:pt x="3676650" y="5486400"/>
                </a:lnTo>
                <a:lnTo>
                  <a:pt x="0" y="548640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4302305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Picture Placeholder 7">
            <a:extLst>
              <a:ext uri="{FF2B5EF4-FFF2-40B4-BE49-F238E27FC236}">
                <a16:creationId xmlns:a16="http://schemas.microsoft.com/office/drawing/2014/main" id="{F2F79CAF-71FF-EF49-9B95-6EF3D1EE9D66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60611" y="1227221"/>
            <a:ext cx="4699973" cy="4698749"/>
          </a:xfrm>
          <a:prstGeom prst="ellipse">
            <a:avLst/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 useBgFill="1">
        <p:nvSpPr>
          <p:cNvPr id="5" name="Picture Placeholder 7">
            <a:extLst>
              <a:ext uri="{FF2B5EF4-FFF2-40B4-BE49-F238E27FC236}">
                <a16:creationId xmlns:a16="http://schemas.microsoft.com/office/drawing/2014/main" id="{3DB274AB-44FF-5B49-8D15-896900DE3F8A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3610414" y="3992061"/>
            <a:ext cx="2485586" cy="2484939"/>
          </a:xfrm>
          <a:prstGeom prst="ellipse">
            <a:avLst/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37392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Picture Placeholder 7">
            <a:extLst>
              <a:ext uri="{FF2B5EF4-FFF2-40B4-BE49-F238E27FC236}">
                <a16:creationId xmlns:a16="http://schemas.microsoft.com/office/drawing/2014/main" id="{F2F79CAF-71FF-EF49-9B95-6EF3D1EE9D66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prstGeom prst="rect">
            <a:avLst/>
          </a:prstGeom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0539023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uk-UA"/>
              <a:t>CompanyName</a:t>
            </a:r>
            <a:endParaRPr lang="uk-UA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r"/>
            <a:r>
              <a:rPr lang="en-US"/>
              <a:t>www.company.com</a:t>
            </a:r>
            <a:endParaRPr lang="uk-U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37E814A-9BCF-4B76-92FC-791F84F878B3}" type="slidenum">
              <a:rPr lang="uk-UA" smtClean="0"/>
              <a:pPr/>
              <a:t>‹nr.›</a:t>
            </a:fld>
            <a:endParaRPr lang="uk-UA"/>
          </a:p>
        </p:txBody>
      </p:sp>
    </p:spTree>
    <p:extLst>
      <p:ext uri="{BB962C8B-B14F-4D97-AF65-F5344CB8AC3E}">
        <p14:creationId xmlns:p14="http://schemas.microsoft.com/office/powerpoint/2010/main" val="41175030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93087395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ek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9"/>
            <a:ext cx="10515600" cy="2852737"/>
          </a:xfrm>
        </p:spPr>
        <p:txBody>
          <a:bodyPr anchor="b"/>
          <a:lstStyle>
            <a:lvl1pPr>
              <a:defRPr sz="5999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086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172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25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3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4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251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199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668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1710017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3232614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6"/>
            <a:ext cx="10515600" cy="1325563"/>
          </a:xfrm>
        </p:spPr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086" indent="0">
              <a:buNone/>
              <a:defRPr sz="2000" b="1"/>
            </a:lvl2pPr>
            <a:lvl3pPr marL="914172" indent="0">
              <a:buNone/>
              <a:defRPr sz="1800" b="1"/>
            </a:lvl3pPr>
            <a:lvl4pPr marL="1371257" indent="0">
              <a:buNone/>
              <a:defRPr sz="1600" b="1"/>
            </a:lvl4pPr>
            <a:lvl5pPr marL="1828343" indent="0">
              <a:buNone/>
              <a:defRPr sz="1600" b="1"/>
            </a:lvl5pPr>
            <a:lvl6pPr marL="2285429" indent="0">
              <a:buNone/>
              <a:defRPr sz="1600" b="1"/>
            </a:lvl6pPr>
            <a:lvl7pPr marL="2742514" indent="0">
              <a:buNone/>
              <a:defRPr sz="1600" b="1"/>
            </a:lvl7pPr>
            <a:lvl8pPr marL="3199600" indent="0">
              <a:buNone/>
              <a:defRPr sz="1600" b="1"/>
            </a:lvl8pPr>
            <a:lvl9pPr marL="3656686" indent="0">
              <a:buNone/>
              <a:defRPr sz="16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88196826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925893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44123867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oud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199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86" indent="0">
              <a:buNone/>
              <a:defRPr sz="1400"/>
            </a:lvl2pPr>
            <a:lvl3pPr marL="914172" indent="0">
              <a:buNone/>
              <a:defRPr sz="12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  <a:lvl6pPr marL="2285429" indent="0">
              <a:buNone/>
              <a:defRPr sz="1000"/>
            </a:lvl6pPr>
            <a:lvl7pPr marL="2742514" indent="0">
              <a:buNone/>
              <a:defRPr sz="1000"/>
            </a:lvl7pPr>
            <a:lvl8pPr marL="3199600" indent="0">
              <a:buNone/>
              <a:defRPr sz="1000"/>
            </a:lvl8pPr>
            <a:lvl9pPr marL="3656686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29125303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Afbeelding met bij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9" y="457200"/>
            <a:ext cx="3932237" cy="1600200"/>
          </a:xfrm>
        </p:spPr>
        <p:txBody>
          <a:bodyPr anchor="b"/>
          <a:lstStyle>
            <a:lvl1pPr>
              <a:defRPr sz="3199"/>
            </a:lvl1pPr>
          </a:lstStyle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 anchor="t"/>
          <a:lstStyle>
            <a:lvl1pPr marL="0" indent="0">
              <a:buNone/>
              <a:defRPr sz="3199"/>
            </a:lvl1pPr>
            <a:lvl2pPr marL="457086" indent="0">
              <a:buNone/>
              <a:defRPr sz="2800"/>
            </a:lvl2pPr>
            <a:lvl3pPr marL="914172" indent="0">
              <a:buNone/>
              <a:defRPr sz="2400"/>
            </a:lvl3pPr>
            <a:lvl4pPr marL="1371257" indent="0">
              <a:buNone/>
              <a:defRPr sz="2000"/>
            </a:lvl4pPr>
            <a:lvl5pPr marL="1828343" indent="0">
              <a:buNone/>
              <a:defRPr sz="2000"/>
            </a:lvl5pPr>
            <a:lvl6pPr marL="2285429" indent="0">
              <a:buNone/>
              <a:defRPr sz="2000"/>
            </a:lvl6pPr>
            <a:lvl7pPr marL="2742514" indent="0">
              <a:buNone/>
              <a:defRPr sz="2000"/>
            </a:lvl7pPr>
            <a:lvl8pPr marL="3199600" indent="0">
              <a:buNone/>
              <a:defRPr sz="2000"/>
            </a:lvl8pPr>
            <a:lvl9pPr marL="3656686" indent="0">
              <a:buNone/>
              <a:defRPr sz="2000"/>
            </a:lvl9pPr>
          </a:lstStyle>
          <a:p>
            <a:r>
              <a:rPr lang="nl-NL"/>
              <a:t>Klik op het pictogram als u een afbeelding wilt toevoe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9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086" indent="0">
              <a:buNone/>
              <a:defRPr sz="1400"/>
            </a:lvl2pPr>
            <a:lvl3pPr marL="914172" indent="0">
              <a:buNone/>
              <a:defRPr sz="1200"/>
            </a:lvl3pPr>
            <a:lvl4pPr marL="1371257" indent="0">
              <a:buNone/>
              <a:defRPr sz="1000"/>
            </a:lvl4pPr>
            <a:lvl5pPr marL="1828343" indent="0">
              <a:buNone/>
              <a:defRPr sz="1000"/>
            </a:lvl5pPr>
            <a:lvl6pPr marL="2285429" indent="0">
              <a:buNone/>
              <a:defRPr sz="1000"/>
            </a:lvl6pPr>
            <a:lvl7pPr marL="2742514" indent="0">
              <a:buNone/>
              <a:defRPr sz="1000"/>
            </a:lvl7pPr>
            <a:lvl8pPr marL="3199600" indent="0">
              <a:buNone/>
              <a:defRPr sz="1000"/>
            </a:lvl8pPr>
            <a:lvl9pPr marL="3656686" indent="0">
              <a:buNone/>
              <a:defRPr sz="1000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7389069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8FAA57A-E921-A31D-66C5-46AAEEE92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8B0773E-DA12-E832-02A6-62C0A2C6E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18EFBC-DF31-3021-C0A7-425E41A6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70757AAC-28A0-1896-19E8-105A91E114E1}"/>
              </a:ext>
            </a:extLst>
          </p:cNvPr>
          <p:cNvSpPr/>
          <p:nvPr userDrawn="1"/>
        </p:nvSpPr>
        <p:spPr>
          <a:xfrm>
            <a:off x="0" y="1"/>
            <a:ext cx="12192000" cy="895453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D62E622-DCA2-FC17-741F-ED0A963BCBE4}"/>
              </a:ext>
            </a:extLst>
          </p:cNvPr>
          <p:cNvSpPr/>
          <p:nvPr userDrawn="1"/>
        </p:nvSpPr>
        <p:spPr>
          <a:xfrm>
            <a:off x="-12572" y="6546793"/>
            <a:ext cx="12204569" cy="316458"/>
          </a:xfrm>
          <a:prstGeom prst="rect">
            <a:avLst/>
          </a:pr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95B1C276-C89A-D80F-11C5-03D45DB73117}"/>
              </a:ext>
            </a:extLst>
          </p:cNvPr>
          <p:cNvGrpSpPr/>
          <p:nvPr userDrawn="1"/>
        </p:nvGrpSpPr>
        <p:grpSpPr>
          <a:xfrm>
            <a:off x="10349008" y="304800"/>
            <a:ext cx="1283457" cy="427536"/>
            <a:chOff x="216620" y="3284504"/>
            <a:chExt cx="5991069" cy="1995703"/>
          </a:xfrm>
          <a:solidFill>
            <a:srgbClr val="AA8FC2"/>
          </a:solidFill>
        </p:grpSpPr>
        <p:grpSp>
          <p:nvGrpSpPr>
            <p:cNvPr id="12" name="Graphic 2">
              <a:extLst>
                <a:ext uri="{FF2B5EF4-FFF2-40B4-BE49-F238E27FC236}">
                  <a16:creationId xmlns:a16="http://schemas.microsoft.com/office/drawing/2014/main" id="{EB7CA6FA-3157-E50B-7AB3-4B1446714383}"/>
                </a:ext>
              </a:extLst>
            </p:cNvPr>
            <p:cNvGrpSpPr/>
            <p:nvPr/>
          </p:nvGrpSpPr>
          <p:grpSpPr>
            <a:xfrm>
              <a:off x="477994" y="3284504"/>
              <a:ext cx="5729695" cy="970554"/>
              <a:chOff x="477994" y="3284504"/>
              <a:chExt cx="5729695" cy="970554"/>
            </a:xfrm>
            <a:grpFill/>
          </p:grpSpPr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D1FB865B-395D-4AB3-F3AB-0168FD68EFD9}"/>
                  </a:ext>
                </a:extLst>
              </p:cNvPr>
              <p:cNvSpPr/>
              <p:nvPr/>
            </p:nvSpPr>
            <p:spPr>
              <a:xfrm>
                <a:off x="477994" y="3284504"/>
                <a:ext cx="1104206" cy="970554"/>
              </a:xfrm>
              <a:custGeom>
                <a:avLst/>
                <a:gdLst>
                  <a:gd name="connsiteX0" fmla="*/ 1104207 w 1104206"/>
                  <a:gd name="connsiteY0" fmla="*/ 646593 h 970554"/>
                  <a:gd name="connsiteX1" fmla="*/ 590591 w 1104206"/>
                  <a:gd name="connsiteY1" fmla="*/ 970555 h 970554"/>
                  <a:gd name="connsiteX2" fmla="*/ 0 w 1104206"/>
                  <a:gd name="connsiteY2" fmla="*/ 797560 h 970554"/>
                  <a:gd name="connsiteX3" fmla="*/ 157757 w 1104206"/>
                  <a:gd name="connsiteY3" fmla="*/ 615450 h 970554"/>
                  <a:gd name="connsiteX4" fmla="*/ 595824 w 1104206"/>
                  <a:gd name="connsiteY4" fmla="*/ 746858 h 970554"/>
                  <a:gd name="connsiteX5" fmla="*/ 790119 w 1104206"/>
                  <a:gd name="connsiteY5" fmla="*/ 679255 h 970554"/>
                  <a:gd name="connsiteX6" fmla="*/ 568517 w 1104206"/>
                  <a:gd name="connsiteY6" fmla="*/ 605101 h 970554"/>
                  <a:gd name="connsiteX7" fmla="*/ 39201 w 1104206"/>
                  <a:gd name="connsiteY7" fmla="*/ 308485 h 970554"/>
                  <a:gd name="connsiteX8" fmla="*/ 552722 w 1104206"/>
                  <a:gd name="connsiteY8" fmla="*/ 0 h 970554"/>
                  <a:gd name="connsiteX9" fmla="*/ 1065100 w 1104206"/>
                  <a:gd name="connsiteY9" fmla="*/ 131408 h 970554"/>
                  <a:gd name="connsiteX10" fmla="*/ 913813 w 1104206"/>
                  <a:gd name="connsiteY10" fmla="*/ 316176 h 970554"/>
                  <a:gd name="connsiteX11" fmla="*/ 552722 w 1104206"/>
                  <a:gd name="connsiteY11" fmla="*/ 221228 h 970554"/>
                  <a:gd name="connsiteX12" fmla="*/ 353289 w 1104206"/>
                  <a:gd name="connsiteY12" fmla="*/ 282374 h 970554"/>
                  <a:gd name="connsiteX13" fmla="*/ 582789 w 1104206"/>
                  <a:gd name="connsiteY13" fmla="*/ 347508 h 970554"/>
                  <a:gd name="connsiteX14" fmla="*/ 1104207 w 1104206"/>
                  <a:gd name="connsiteY14" fmla="*/ 64668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206" h="970554">
                    <a:moveTo>
                      <a:pt x="1104207" y="646593"/>
                    </a:moveTo>
                    <a:cubicBezTo>
                      <a:pt x="1104207" y="843040"/>
                      <a:pt x="928181" y="970555"/>
                      <a:pt x="590591" y="970555"/>
                    </a:cubicBezTo>
                    <a:cubicBezTo>
                      <a:pt x="353194" y="970555"/>
                      <a:pt x="147291" y="908079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858"/>
                      <a:pt x="595824" y="746858"/>
                    </a:cubicBezTo>
                    <a:cubicBezTo>
                      <a:pt x="726179" y="746858"/>
                      <a:pt x="790119" y="724735"/>
                      <a:pt x="790119" y="679255"/>
                    </a:cubicBezTo>
                    <a:cubicBezTo>
                      <a:pt x="790119" y="633775"/>
                      <a:pt x="737882" y="619438"/>
                      <a:pt x="568517" y="605101"/>
                    </a:cubicBezTo>
                    <a:cubicBezTo>
                      <a:pt x="288207" y="580320"/>
                      <a:pt x="39201" y="516610"/>
                      <a:pt x="39201" y="308485"/>
                    </a:cubicBezTo>
                    <a:cubicBezTo>
                      <a:pt x="39201" y="100360"/>
                      <a:pt x="256808" y="0"/>
                      <a:pt x="552722" y="0"/>
                    </a:cubicBezTo>
                    <a:cubicBezTo>
                      <a:pt x="744447" y="0"/>
                      <a:pt x="933509" y="44246"/>
                      <a:pt x="1065100" y="131408"/>
                    </a:cubicBezTo>
                    <a:lnTo>
                      <a:pt x="913813" y="316176"/>
                    </a:lnTo>
                    <a:cubicBezTo>
                      <a:pt x="810862" y="248573"/>
                      <a:pt x="689641" y="221228"/>
                      <a:pt x="552722" y="221228"/>
                    </a:cubicBezTo>
                    <a:cubicBezTo>
                      <a:pt x="460142" y="221228"/>
                      <a:pt x="353289" y="232907"/>
                      <a:pt x="353289" y="282374"/>
                    </a:cubicBezTo>
                    <a:cubicBezTo>
                      <a:pt x="353289" y="326620"/>
                      <a:pt x="435498" y="335735"/>
                      <a:pt x="582789" y="347508"/>
                    </a:cubicBezTo>
                    <a:cubicBezTo>
                      <a:pt x="887837" y="372195"/>
                      <a:pt x="1104207" y="430777"/>
                      <a:pt x="1104207" y="64668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1C322801-9480-7065-1B3D-0B2A7C7EEF1E}"/>
                  </a:ext>
                </a:extLst>
              </p:cNvPr>
              <p:cNvSpPr/>
              <p:nvPr/>
            </p:nvSpPr>
            <p:spPr>
              <a:xfrm>
                <a:off x="1618167" y="3314412"/>
                <a:ext cx="1039029" cy="910642"/>
              </a:xfrm>
              <a:custGeom>
                <a:avLst/>
                <a:gdLst>
                  <a:gd name="connsiteX0" fmla="*/ 1038934 w 1039029"/>
                  <a:gd name="connsiteY0" fmla="*/ 240692 h 910642"/>
                  <a:gd name="connsiteX1" fmla="*/ 677843 w 1039029"/>
                  <a:gd name="connsiteY1" fmla="*/ 240692 h 910642"/>
                  <a:gd name="connsiteX2" fmla="*/ 677843 w 1039029"/>
                  <a:gd name="connsiteY2" fmla="*/ 910643 h 910642"/>
                  <a:gd name="connsiteX3" fmla="*/ 359854 w 1039029"/>
                  <a:gd name="connsiteY3" fmla="*/ 910643 h 910642"/>
                  <a:gd name="connsiteX4" fmla="*/ 359854 w 1039029"/>
                  <a:gd name="connsiteY4" fmla="*/ 240692 h 910642"/>
                  <a:gd name="connsiteX5" fmla="*/ 0 w 1039029"/>
                  <a:gd name="connsiteY5" fmla="*/ 240692 h 910642"/>
                  <a:gd name="connsiteX6" fmla="*/ 0 w 1039029"/>
                  <a:gd name="connsiteY6" fmla="*/ 0 h 910642"/>
                  <a:gd name="connsiteX7" fmla="*/ 1039029 w 1039029"/>
                  <a:gd name="connsiteY7" fmla="*/ 0 h 910642"/>
                  <a:gd name="connsiteX8" fmla="*/ 1039029 w 1039029"/>
                  <a:gd name="connsiteY8" fmla="*/ 240692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029" h="910642">
                    <a:moveTo>
                      <a:pt x="1038934" y="240692"/>
                    </a:moveTo>
                    <a:lnTo>
                      <a:pt x="677843" y="240692"/>
                    </a:lnTo>
                    <a:lnTo>
                      <a:pt x="677843" y="910643"/>
                    </a:lnTo>
                    <a:lnTo>
                      <a:pt x="359854" y="910643"/>
                    </a:lnTo>
                    <a:lnTo>
                      <a:pt x="359854" y="240692"/>
                    </a:lnTo>
                    <a:lnTo>
                      <a:pt x="0" y="240692"/>
                    </a:lnTo>
                    <a:lnTo>
                      <a:pt x="0" y="0"/>
                    </a:lnTo>
                    <a:lnTo>
                      <a:pt x="1039029" y="0"/>
                    </a:lnTo>
                    <a:lnTo>
                      <a:pt x="1039029" y="240692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4DCD4E40-4E4E-589F-0F18-1204C35210EC}"/>
                  </a:ext>
                </a:extLst>
              </p:cNvPr>
              <p:cNvSpPr/>
              <p:nvPr/>
            </p:nvSpPr>
            <p:spPr>
              <a:xfrm>
                <a:off x="2778893" y="3314412"/>
                <a:ext cx="1091171" cy="940646"/>
              </a:xfrm>
              <a:custGeom>
                <a:avLst/>
                <a:gdLst>
                  <a:gd name="connsiteX0" fmla="*/ 1091171 w 1091171"/>
                  <a:gd name="connsiteY0" fmla="*/ 0 h 940646"/>
                  <a:gd name="connsiteX1" fmla="*/ 1091171 w 1091171"/>
                  <a:gd name="connsiteY1" fmla="*/ 481384 h 940646"/>
                  <a:gd name="connsiteX2" fmla="*/ 546252 w 1091171"/>
                  <a:gd name="connsiteY2" fmla="*/ 940646 h 940646"/>
                  <a:gd name="connsiteX3" fmla="*/ 0 w 1091171"/>
                  <a:gd name="connsiteY3" fmla="*/ 481384 h 940646"/>
                  <a:gd name="connsiteX4" fmla="*/ 0 w 1091171"/>
                  <a:gd name="connsiteY4" fmla="*/ 0 h 940646"/>
                  <a:gd name="connsiteX5" fmla="*/ 317989 w 1091171"/>
                  <a:gd name="connsiteY5" fmla="*/ 0 h 940646"/>
                  <a:gd name="connsiteX6" fmla="*/ 317989 w 1091171"/>
                  <a:gd name="connsiteY6" fmla="*/ 456698 h 940646"/>
                  <a:gd name="connsiteX7" fmla="*/ 546252 w 1091171"/>
                  <a:gd name="connsiteY7" fmla="*/ 689510 h 940646"/>
                  <a:gd name="connsiteX8" fmla="*/ 773087 w 1091171"/>
                  <a:gd name="connsiteY8" fmla="*/ 456698 h 940646"/>
                  <a:gd name="connsiteX9" fmla="*/ 773087 w 1091171"/>
                  <a:gd name="connsiteY9" fmla="*/ 0 h 940646"/>
                  <a:gd name="connsiteX10" fmla="*/ 1091076 w 1091171"/>
                  <a:gd name="connsiteY10" fmla="*/ 0 h 94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171" h="940646">
                    <a:moveTo>
                      <a:pt x="1091171" y="0"/>
                    </a:moveTo>
                    <a:lnTo>
                      <a:pt x="1091171" y="481384"/>
                    </a:lnTo>
                    <a:cubicBezTo>
                      <a:pt x="1091171" y="762429"/>
                      <a:pt x="895640" y="940646"/>
                      <a:pt x="546252" y="940646"/>
                    </a:cubicBezTo>
                    <a:cubicBezTo>
                      <a:pt x="196864" y="940646"/>
                      <a:pt x="0" y="762429"/>
                      <a:pt x="0" y="481384"/>
                    </a:cubicBezTo>
                    <a:lnTo>
                      <a:pt x="0" y="0"/>
                    </a:lnTo>
                    <a:lnTo>
                      <a:pt x="317989" y="0"/>
                    </a:lnTo>
                    <a:lnTo>
                      <a:pt x="317989" y="456698"/>
                    </a:lnTo>
                    <a:cubicBezTo>
                      <a:pt x="317989" y="591998"/>
                      <a:pt x="388494" y="689510"/>
                      <a:pt x="546252" y="689510"/>
                    </a:cubicBezTo>
                    <a:cubicBezTo>
                      <a:pt x="704009" y="689510"/>
                      <a:pt x="773087" y="591903"/>
                      <a:pt x="773087" y="456698"/>
                    </a:cubicBezTo>
                    <a:lnTo>
                      <a:pt x="773087" y="0"/>
                    </a:lnTo>
                    <a:lnTo>
                      <a:pt x="1091076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3A0F9D93-9E6F-3F4D-C178-2EC2E1ED0152}"/>
                  </a:ext>
                </a:extLst>
              </p:cNvPr>
              <p:cNvSpPr/>
              <p:nvPr/>
            </p:nvSpPr>
            <p:spPr>
              <a:xfrm>
                <a:off x="4018116" y="3314412"/>
                <a:ext cx="1113340" cy="910737"/>
              </a:xfrm>
              <a:custGeom>
                <a:avLst/>
                <a:gdLst>
                  <a:gd name="connsiteX0" fmla="*/ 1113341 w 1113340"/>
                  <a:gd name="connsiteY0" fmla="*/ 455369 h 910737"/>
                  <a:gd name="connsiteX1" fmla="*/ 531979 w 1113340"/>
                  <a:gd name="connsiteY1" fmla="*/ 910738 h 910737"/>
                  <a:gd name="connsiteX2" fmla="*/ 0 w 1113340"/>
                  <a:gd name="connsiteY2" fmla="*/ 910738 h 910737"/>
                  <a:gd name="connsiteX3" fmla="*/ 0 w 1113340"/>
                  <a:gd name="connsiteY3" fmla="*/ 0 h 910737"/>
                  <a:gd name="connsiteX4" fmla="*/ 531979 w 1113340"/>
                  <a:gd name="connsiteY4" fmla="*/ 0 h 910737"/>
                  <a:gd name="connsiteX5" fmla="*/ 1113341 w 1113340"/>
                  <a:gd name="connsiteY5" fmla="*/ 455369 h 910737"/>
                  <a:gd name="connsiteX6" fmla="*/ 788692 w 1113340"/>
                  <a:gd name="connsiteY6" fmla="*/ 455369 h 910737"/>
                  <a:gd name="connsiteX7" fmla="*/ 505813 w 1113340"/>
                  <a:gd name="connsiteY7" fmla="*/ 242021 h 910737"/>
                  <a:gd name="connsiteX8" fmla="*/ 318179 w 1113340"/>
                  <a:gd name="connsiteY8" fmla="*/ 242021 h 910737"/>
                  <a:gd name="connsiteX9" fmla="*/ 318179 w 1113340"/>
                  <a:gd name="connsiteY9" fmla="*/ 668716 h 910737"/>
                  <a:gd name="connsiteX10" fmla="*/ 505813 w 1113340"/>
                  <a:gd name="connsiteY10" fmla="*/ 668716 h 910737"/>
                  <a:gd name="connsiteX11" fmla="*/ 788692 w 1113340"/>
                  <a:gd name="connsiteY11" fmla="*/ 455369 h 91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3340" h="910737">
                    <a:moveTo>
                      <a:pt x="1113341" y="455369"/>
                    </a:moveTo>
                    <a:cubicBezTo>
                      <a:pt x="1113341" y="742870"/>
                      <a:pt x="886505" y="910738"/>
                      <a:pt x="531979" y="910738"/>
                    </a:cubicBezTo>
                    <a:lnTo>
                      <a:pt x="0" y="910738"/>
                    </a:lnTo>
                    <a:lnTo>
                      <a:pt x="0" y="0"/>
                    </a:lnTo>
                    <a:lnTo>
                      <a:pt x="531979" y="0"/>
                    </a:lnTo>
                    <a:cubicBezTo>
                      <a:pt x="886505" y="0"/>
                      <a:pt x="1113341" y="166538"/>
                      <a:pt x="1113341" y="455369"/>
                    </a:cubicBezTo>
                    <a:close/>
                    <a:moveTo>
                      <a:pt x="788692" y="455369"/>
                    </a:moveTo>
                    <a:cubicBezTo>
                      <a:pt x="788692" y="317505"/>
                      <a:pt x="680507" y="242021"/>
                      <a:pt x="505813" y="242021"/>
                    </a:cubicBezTo>
                    <a:lnTo>
                      <a:pt x="318179" y="242021"/>
                    </a:lnTo>
                    <a:lnTo>
                      <a:pt x="318179" y="668716"/>
                    </a:lnTo>
                    <a:lnTo>
                      <a:pt x="505813" y="668716"/>
                    </a:lnTo>
                    <a:cubicBezTo>
                      <a:pt x="680507" y="668716"/>
                      <a:pt x="788692" y="593328"/>
                      <a:pt x="788692" y="455369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777510F1-4D03-66E7-F6EA-340A16CD0CF0}"/>
                  </a:ext>
                </a:extLst>
              </p:cNvPr>
              <p:cNvSpPr/>
              <p:nvPr/>
            </p:nvSpPr>
            <p:spPr>
              <a:xfrm>
                <a:off x="5052578" y="3314412"/>
                <a:ext cx="1155111" cy="910642"/>
              </a:xfrm>
              <a:custGeom>
                <a:avLst/>
                <a:gdLst>
                  <a:gd name="connsiteX0" fmla="*/ 350720 w 1155111"/>
                  <a:gd name="connsiteY0" fmla="*/ 0 h 910642"/>
                  <a:gd name="connsiteX1" fmla="*/ 578888 w 1155111"/>
                  <a:gd name="connsiteY1" fmla="*/ 361656 h 910642"/>
                  <a:gd name="connsiteX2" fmla="*/ 805723 w 1155111"/>
                  <a:gd name="connsiteY2" fmla="*/ 0 h 910642"/>
                  <a:gd name="connsiteX3" fmla="*/ 1155112 w 1155111"/>
                  <a:gd name="connsiteY3" fmla="*/ 0 h 910642"/>
                  <a:gd name="connsiteX4" fmla="*/ 736645 w 1155111"/>
                  <a:gd name="connsiteY4" fmla="*/ 607570 h 910642"/>
                  <a:gd name="connsiteX5" fmla="*/ 736645 w 1155111"/>
                  <a:gd name="connsiteY5" fmla="*/ 910643 h 910642"/>
                  <a:gd name="connsiteX6" fmla="*/ 418466 w 1155111"/>
                  <a:gd name="connsiteY6" fmla="*/ 910643 h 910642"/>
                  <a:gd name="connsiteX7" fmla="*/ 418466 w 1155111"/>
                  <a:gd name="connsiteY7" fmla="*/ 607570 h 910642"/>
                  <a:gd name="connsiteX8" fmla="*/ 0 w 1155111"/>
                  <a:gd name="connsiteY8" fmla="*/ 0 h 910642"/>
                  <a:gd name="connsiteX9" fmla="*/ 350720 w 1155111"/>
                  <a:gd name="connsiteY9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5111" h="910642">
                    <a:moveTo>
                      <a:pt x="350720" y="0"/>
                    </a:moveTo>
                    <a:lnTo>
                      <a:pt x="578888" y="361656"/>
                    </a:lnTo>
                    <a:lnTo>
                      <a:pt x="805723" y="0"/>
                    </a:lnTo>
                    <a:lnTo>
                      <a:pt x="1155112" y="0"/>
                    </a:lnTo>
                    <a:lnTo>
                      <a:pt x="736645" y="607570"/>
                    </a:lnTo>
                    <a:lnTo>
                      <a:pt x="736645" y="910643"/>
                    </a:lnTo>
                    <a:lnTo>
                      <a:pt x="418466" y="910643"/>
                    </a:lnTo>
                    <a:lnTo>
                      <a:pt x="418466" y="607570"/>
                    </a:lnTo>
                    <a:lnTo>
                      <a:pt x="0" y="0"/>
                    </a:lnTo>
                    <a:lnTo>
                      <a:pt x="350720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13" name="Graphic 2">
              <a:extLst>
                <a:ext uri="{FF2B5EF4-FFF2-40B4-BE49-F238E27FC236}">
                  <a16:creationId xmlns:a16="http://schemas.microsoft.com/office/drawing/2014/main" id="{C8E60236-23E2-3D5B-0C5D-EA3D475D359C}"/>
                </a:ext>
              </a:extLst>
            </p:cNvPr>
            <p:cNvGrpSpPr/>
            <p:nvPr/>
          </p:nvGrpSpPr>
          <p:grpSpPr>
            <a:xfrm>
              <a:off x="216620" y="4309653"/>
              <a:ext cx="4438329" cy="970554"/>
              <a:chOff x="216620" y="4309653"/>
              <a:chExt cx="4438329" cy="970554"/>
            </a:xfrm>
            <a:grpFill/>
          </p:grpSpPr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CD337F57-6131-AE17-407F-024B187DE94B}"/>
                  </a:ext>
                </a:extLst>
              </p:cNvPr>
              <p:cNvSpPr/>
              <p:nvPr/>
            </p:nvSpPr>
            <p:spPr>
              <a:xfrm>
                <a:off x="216620" y="4339656"/>
                <a:ext cx="1662256" cy="910642"/>
              </a:xfrm>
              <a:custGeom>
                <a:avLst/>
                <a:gdLst>
                  <a:gd name="connsiteX0" fmla="*/ 1662162 w 1662256"/>
                  <a:gd name="connsiteY0" fmla="*/ 0 h 910642"/>
                  <a:gd name="connsiteX1" fmla="*/ 1329710 w 1662256"/>
                  <a:gd name="connsiteY1" fmla="*/ 910643 h 910642"/>
                  <a:gd name="connsiteX2" fmla="*/ 1018192 w 1662256"/>
                  <a:gd name="connsiteY2" fmla="*/ 910643 h 910642"/>
                  <a:gd name="connsiteX3" fmla="*/ 831794 w 1662256"/>
                  <a:gd name="connsiteY3" fmla="*/ 326525 h 910642"/>
                  <a:gd name="connsiteX4" fmla="*/ 644065 w 1662256"/>
                  <a:gd name="connsiteY4" fmla="*/ 910643 h 910642"/>
                  <a:gd name="connsiteX5" fmla="*/ 332451 w 1662256"/>
                  <a:gd name="connsiteY5" fmla="*/ 910643 h 910642"/>
                  <a:gd name="connsiteX6" fmla="*/ 0 w 1662256"/>
                  <a:gd name="connsiteY6" fmla="*/ 0 h 910642"/>
                  <a:gd name="connsiteX7" fmla="*/ 319416 w 1662256"/>
                  <a:gd name="connsiteY7" fmla="*/ 0 h 910642"/>
                  <a:gd name="connsiteX8" fmla="*/ 496679 w 1662256"/>
                  <a:gd name="connsiteY8" fmla="*/ 582788 h 910642"/>
                  <a:gd name="connsiteX9" fmla="*/ 690974 w 1662256"/>
                  <a:gd name="connsiteY9" fmla="*/ 0 h 910642"/>
                  <a:gd name="connsiteX10" fmla="*/ 976516 w 1662256"/>
                  <a:gd name="connsiteY10" fmla="*/ 0 h 910642"/>
                  <a:gd name="connsiteX11" fmla="*/ 1170811 w 1662256"/>
                  <a:gd name="connsiteY11" fmla="*/ 582788 h 910642"/>
                  <a:gd name="connsiteX12" fmla="*/ 1348074 w 1662256"/>
                  <a:gd name="connsiteY12" fmla="*/ 0 h 910642"/>
                  <a:gd name="connsiteX13" fmla="*/ 1662257 w 1662256"/>
                  <a:gd name="connsiteY13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2256" h="910642">
                    <a:moveTo>
                      <a:pt x="1662162" y="0"/>
                    </a:moveTo>
                    <a:lnTo>
                      <a:pt x="1329710" y="910643"/>
                    </a:lnTo>
                    <a:lnTo>
                      <a:pt x="1018192" y="910643"/>
                    </a:lnTo>
                    <a:lnTo>
                      <a:pt x="831794" y="326525"/>
                    </a:lnTo>
                    <a:lnTo>
                      <a:pt x="644065" y="910643"/>
                    </a:lnTo>
                    <a:lnTo>
                      <a:pt x="332451" y="910643"/>
                    </a:lnTo>
                    <a:lnTo>
                      <a:pt x="0" y="0"/>
                    </a:lnTo>
                    <a:lnTo>
                      <a:pt x="319416" y="0"/>
                    </a:lnTo>
                    <a:lnTo>
                      <a:pt x="496679" y="582788"/>
                    </a:lnTo>
                    <a:lnTo>
                      <a:pt x="690974" y="0"/>
                    </a:lnTo>
                    <a:lnTo>
                      <a:pt x="976516" y="0"/>
                    </a:lnTo>
                    <a:lnTo>
                      <a:pt x="1170811" y="582788"/>
                    </a:lnTo>
                    <a:lnTo>
                      <a:pt x="1348074" y="0"/>
                    </a:lnTo>
                    <a:lnTo>
                      <a:pt x="1662257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6AF3095D-49EB-804A-4BD2-5E8B22F0298C}"/>
                  </a:ext>
                </a:extLst>
              </p:cNvPr>
              <p:cNvSpPr/>
              <p:nvPr/>
            </p:nvSpPr>
            <p:spPr>
              <a:xfrm>
                <a:off x="1977451" y="4339656"/>
                <a:ext cx="318178" cy="910642"/>
              </a:xfrm>
              <a:custGeom>
                <a:avLst/>
                <a:gdLst>
                  <a:gd name="connsiteX0" fmla="*/ 0 w 318178"/>
                  <a:gd name="connsiteY0" fmla="*/ 910643 h 910642"/>
                  <a:gd name="connsiteX1" fmla="*/ 0 w 318178"/>
                  <a:gd name="connsiteY1" fmla="*/ 0 h 910642"/>
                  <a:gd name="connsiteX2" fmla="*/ 318179 w 318178"/>
                  <a:gd name="connsiteY2" fmla="*/ 0 h 910642"/>
                  <a:gd name="connsiteX3" fmla="*/ 318179 w 318178"/>
                  <a:gd name="connsiteY3" fmla="*/ 910643 h 910642"/>
                  <a:gd name="connsiteX4" fmla="*/ 0 w 318178"/>
                  <a:gd name="connsiteY4" fmla="*/ 910643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78" h="910642">
                    <a:moveTo>
                      <a:pt x="0" y="910643"/>
                    </a:moveTo>
                    <a:lnTo>
                      <a:pt x="0" y="0"/>
                    </a:lnTo>
                    <a:lnTo>
                      <a:pt x="318179" y="0"/>
                    </a:lnTo>
                    <a:lnTo>
                      <a:pt x="318179" y="910643"/>
                    </a:lnTo>
                    <a:lnTo>
                      <a:pt x="0" y="910643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16112BBF-521F-F9C5-C06C-F7CE358C6A92}"/>
                  </a:ext>
                </a:extLst>
              </p:cNvPr>
              <p:cNvSpPr/>
              <p:nvPr/>
            </p:nvSpPr>
            <p:spPr>
              <a:xfrm>
                <a:off x="2414471" y="4309653"/>
                <a:ext cx="1104492" cy="970554"/>
              </a:xfrm>
              <a:custGeom>
                <a:avLst/>
                <a:gdLst>
                  <a:gd name="connsiteX0" fmla="*/ 1104302 w 1104492"/>
                  <a:gd name="connsiteY0" fmla="*/ 646593 h 970554"/>
                  <a:gd name="connsiteX1" fmla="*/ 590591 w 1104492"/>
                  <a:gd name="connsiteY1" fmla="*/ 970555 h 970554"/>
                  <a:gd name="connsiteX2" fmla="*/ 0 w 1104492"/>
                  <a:gd name="connsiteY2" fmla="*/ 797560 h 970554"/>
                  <a:gd name="connsiteX3" fmla="*/ 157757 w 1104492"/>
                  <a:gd name="connsiteY3" fmla="*/ 615450 h 970554"/>
                  <a:gd name="connsiteX4" fmla="*/ 595824 w 1104492"/>
                  <a:gd name="connsiteY4" fmla="*/ 746763 h 970554"/>
                  <a:gd name="connsiteX5" fmla="*/ 790119 w 1104492"/>
                  <a:gd name="connsiteY5" fmla="*/ 679065 h 970554"/>
                  <a:gd name="connsiteX6" fmla="*/ 568516 w 1104492"/>
                  <a:gd name="connsiteY6" fmla="*/ 604911 h 970554"/>
                  <a:gd name="connsiteX7" fmla="*/ 39201 w 1104492"/>
                  <a:gd name="connsiteY7" fmla="*/ 308295 h 970554"/>
                  <a:gd name="connsiteX8" fmla="*/ 552912 w 1104492"/>
                  <a:gd name="connsiteY8" fmla="*/ 0 h 970554"/>
                  <a:gd name="connsiteX9" fmla="*/ 1065291 w 1104492"/>
                  <a:gd name="connsiteY9" fmla="*/ 131313 h 970554"/>
                  <a:gd name="connsiteX10" fmla="*/ 914098 w 1104492"/>
                  <a:gd name="connsiteY10" fmla="*/ 316081 h 970554"/>
                  <a:gd name="connsiteX11" fmla="*/ 553007 w 1104492"/>
                  <a:gd name="connsiteY11" fmla="*/ 221038 h 970554"/>
                  <a:gd name="connsiteX12" fmla="*/ 353574 w 1104492"/>
                  <a:gd name="connsiteY12" fmla="*/ 282279 h 970554"/>
                  <a:gd name="connsiteX13" fmla="*/ 582979 w 1104492"/>
                  <a:gd name="connsiteY13" fmla="*/ 347318 h 970554"/>
                  <a:gd name="connsiteX14" fmla="*/ 1104492 w 1104492"/>
                  <a:gd name="connsiteY14" fmla="*/ 64649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492" h="970554">
                    <a:moveTo>
                      <a:pt x="1104302" y="646593"/>
                    </a:moveTo>
                    <a:cubicBezTo>
                      <a:pt x="1104302" y="843135"/>
                      <a:pt x="928276" y="970555"/>
                      <a:pt x="590591" y="970555"/>
                    </a:cubicBezTo>
                    <a:cubicBezTo>
                      <a:pt x="353384" y="970555"/>
                      <a:pt x="147386" y="908174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763"/>
                      <a:pt x="595824" y="746763"/>
                    </a:cubicBezTo>
                    <a:cubicBezTo>
                      <a:pt x="726274" y="746763"/>
                      <a:pt x="790119" y="724640"/>
                      <a:pt x="790119" y="679065"/>
                    </a:cubicBezTo>
                    <a:cubicBezTo>
                      <a:pt x="790119" y="633491"/>
                      <a:pt x="737977" y="619343"/>
                      <a:pt x="568516" y="604911"/>
                    </a:cubicBezTo>
                    <a:cubicBezTo>
                      <a:pt x="288302" y="580225"/>
                      <a:pt x="39201" y="516420"/>
                      <a:pt x="39201" y="308295"/>
                    </a:cubicBezTo>
                    <a:cubicBezTo>
                      <a:pt x="39201" y="100170"/>
                      <a:pt x="256903" y="0"/>
                      <a:pt x="552912" y="0"/>
                    </a:cubicBezTo>
                    <a:cubicBezTo>
                      <a:pt x="744542" y="0"/>
                      <a:pt x="933604" y="44151"/>
                      <a:pt x="1065291" y="131313"/>
                    </a:cubicBezTo>
                    <a:lnTo>
                      <a:pt x="914098" y="316081"/>
                    </a:lnTo>
                    <a:cubicBezTo>
                      <a:pt x="811052" y="248383"/>
                      <a:pt x="689832" y="221038"/>
                      <a:pt x="553007" y="221038"/>
                    </a:cubicBezTo>
                    <a:cubicBezTo>
                      <a:pt x="460427" y="221038"/>
                      <a:pt x="353574" y="232812"/>
                      <a:pt x="353574" y="282279"/>
                    </a:cubicBezTo>
                    <a:cubicBezTo>
                      <a:pt x="353574" y="326430"/>
                      <a:pt x="435688" y="335545"/>
                      <a:pt x="582979" y="347318"/>
                    </a:cubicBezTo>
                    <a:cubicBezTo>
                      <a:pt x="888028" y="372005"/>
                      <a:pt x="1104492" y="430588"/>
                      <a:pt x="1104492" y="64649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9CEE7A33-9286-FFA9-AC30-117527430257}"/>
                  </a:ext>
                </a:extLst>
              </p:cNvPr>
              <p:cNvSpPr/>
              <p:nvPr/>
            </p:nvSpPr>
            <p:spPr>
              <a:xfrm>
                <a:off x="3652362" y="4339656"/>
                <a:ext cx="1002587" cy="910642"/>
              </a:xfrm>
              <a:custGeom>
                <a:avLst/>
                <a:gdLst>
                  <a:gd name="connsiteX0" fmla="*/ 1002492 w 1002587"/>
                  <a:gd name="connsiteY0" fmla="*/ 681629 h 910642"/>
                  <a:gd name="connsiteX1" fmla="*/ 1002492 w 1002587"/>
                  <a:gd name="connsiteY1" fmla="*/ 910643 h 910642"/>
                  <a:gd name="connsiteX2" fmla="*/ 0 w 1002587"/>
                  <a:gd name="connsiteY2" fmla="*/ 910643 h 910642"/>
                  <a:gd name="connsiteX3" fmla="*/ 0 w 1002587"/>
                  <a:gd name="connsiteY3" fmla="*/ 0 h 910642"/>
                  <a:gd name="connsiteX4" fmla="*/ 988220 w 1002587"/>
                  <a:gd name="connsiteY4" fmla="*/ 0 h 910642"/>
                  <a:gd name="connsiteX5" fmla="*/ 988220 w 1002587"/>
                  <a:gd name="connsiteY5" fmla="*/ 229014 h 910642"/>
                  <a:gd name="connsiteX6" fmla="*/ 311614 w 1002587"/>
                  <a:gd name="connsiteY6" fmla="*/ 229014 h 910642"/>
                  <a:gd name="connsiteX7" fmla="*/ 311614 w 1002587"/>
                  <a:gd name="connsiteY7" fmla="*/ 344755 h 910642"/>
                  <a:gd name="connsiteX8" fmla="*/ 863098 w 1002587"/>
                  <a:gd name="connsiteY8" fmla="*/ 344755 h 910642"/>
                  <a:gd name="connsiteX9" fmla="*/ 863098 w 1002587"/>
                  <a:gd name="connsiteY9" fmla="*/ 555444 h 910642"/>
                  <a:gd name="connsiteX10" fmla="*/ 311614 w 1002587"/>
                  <a:gd name="connsiteY10" fmla="*/ 555444 h 910642"/>
                  <a:gd name="connsiteX11" fmla="*/ 311614 w 1002587"/>
                  <a:gd name="connsiteY11" fmla="*/ 681629 h 910642"/>
                  <a:gd name="connsiteX12" fmla="*/ 1002587 w 1002587"/>
                  <a:gd name="connsiteY12" fmla="*/ 681629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2587" h="910642">
                    <a:moveTo>
                      <a:pt x="1002492" y="681629"/>
                    </a:moveTo>
                    <a:lnTo>
                      <a:pt x="1002492" y="910643"/>
                    </a:lnTo>
                    <a:lnTo>
                      <a:pt x="0" y="910643"/>
                    </a:lnTo>
                    <a:lnTo>
                      <a:pt x="0" y="0"/>
                    </a:lnTo>
                    <a:lnTo>
                      <a:pt x="988220" y="0"/>
                    </a:lnTo>
                    <a:lnTo>
                      <a:pt x="988220" y="229014"/>
                    </a:lnTo>
                    <a:lnTo>
                      <a:pt x="311614" y="229014"/>
                    </a:lnTo>
                    <a:lnTo>
                      <a:pt x="311614" y="344755"/>
                    </a:lnTo>
                    <a:lnTo>
                      <a:pt x="863098" y="344755"/>
                    </a:lnTo>
                    <a:lnTo>
                      <a:pt x="863098" y="555444"/>
                    </a:lnTo>
                    <a:lnTo>
                      <a:pt x="311614" y="555444"/>
                    </a:lnTo>
                    <a:lnTo>
                      <a:pt x="311614" y="681629"/>
                    </a:lnTo>
                    <a:lnTo>
                      <a:pt x="1002587" y="681629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sp>
        <p:nvSpPr>
          <p:cNvPr id="23" name="Vrije vorm 22">
            <a:extLst>
              <a:ext uri="{FF2B5EF4-FFF2-40B4-BE49-F238E27FC236}">
                <a16:creationId xmlns:a16="http://schemas.microsoft.com/office/drawing/2014/main" id="{6FC2BFBA-3EFB-AE5D-0FE8-25EF84DD7C1D}"/>
              </a:ext>
            </a:extLst>
          </p:cNvPr>
          <p:cNvSpPr/>
          <p:nvPr userDrawn="1"/>
        </p:nvSpPr>
        <p:spPr>
          <a:xfrm>
            <a:off x="-12573" y="553868"/>
            <a:ext cx="9691449" cy="587441"/>
          </a:xfrm>
          <a:custGeom>
            <a:avLst/>
            <a:gdLst>
              <a:gd name="connsiteX0" fmla="*/ 0 w 9691449"/>
              <a:gd name="connsiteY0" fmla="*/ 0 h 587441"/>
              <a:gd name="connsiteX1" fmla="*/ 250309 w 9691449"/>
              <a:gd name="connsiteY1" fmla="*/ 0 h 587441"/>
              <a:gd name="connsiteX2" fmla="*/ 5460873 w 9691449"/>
              <a:gd name="connsiteY2" fmla="*/ 0 h 587441"/>
              <a:gd name="connsiteX3" fmla="*/ 9441140 w 9691449"/>
              <a:gd name="connsiteY3" fmla="*/ 0 h 587441"/>
              <a:gd name="connsiteX4" fmla="*/ 9691449 w 9691449"/>
              <a:gd name="connsiteY4" fmla="*/ 0 h 587441"/>
              <a:gd name="connsiteX5" fmla="*/ 9691449 w 9691449"/>
              <a:gd name="connsiteY5" fmla="*/ 250309 h 587441"/>
              <a:gd name="connsiteX6" fmla="*/ 9691449 w 9691449"/>
              <a:gd name="connsiteY6" fmla="*/ 293723 h 587441"/>
              <a:gd name="connsiteX7" fmla="*/ 9691449 w 9691449"/>
              <a:gd name="connsiteY7" fmla="*/ 337132 h 587441"/>
              <a:gd name="connsiteX8" fmla="*/ 9441140 w 9691449"/>
              <a:gd name="connsiteY8" fmla="*/ 587441 h 587441"/>
              <a:gd name="connsiteX9" fmla="*/ 5460873 w 9691449"/>
              <a:gd name="connsiteY9" fmla="*/ 587441 h 587441"/>
              <a:gd name="connsiteX10" fmla="*/ 250309 w 9691449"/>
              <a:gd name="connsiteY10" fmla="*/ 587441 h 587441"/>
              <a:gd name="connsiteX11" fmla="*/ 0 w 9691449"/>
              <a:gd name="connsiteY11" fmla="*/ 587441 h 587441"/>
              <a:gd name="connsiteX12" fmla="*/ 0 w 9691449"/>
              <a:gd name="connsiteY12" fmla="*/ 337132 h 587441"/>
              <a:gd name="connsiteX13" fmla="*/ 0 w 9691449"/>
              <a:gd name="connsiteY13" fmla="*/ 293723 h 587441"/>
              <a:gd name="connsiteX14" fmla="*/ 0 w 9691449"/>
              <a:gd name="connsiteY14" fmla="*/ 250309 h 587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91449" h="587441">
                <a:moveTo>
                  <a:pt x="0" y="0"/>
                </a:moveTo>
                <a:lnTo>
                  <a:pt x="250309" y="0"/>
                </a:lnTo>
                <a:lnTo>
                  <a:pt x="5460873" y="0"/>
                </a:lnTo>
                <a:lnTo>
                  <a:pt x="9441140" y="0"/>
                </a:lnTo>
                <a:lnTo>
                  <a:pt x="9691449" y="0"/>
                </a:lnTo>
                <a:lnTo>
                  <a:pt x="9691449" y="250309"/>
                </a:lnTo>
                <a:lnTo>
                  <a:pt x="9691449" y="293723"/>
                </a:lnTo>
                <a:lnTo>
                  <a:pt x="9691449" y="337132"/>
                </a:lnTo>
                <a:cubicBezTo>
                  <a:pt x="9691449" y="475374"/>
                  <a:pt x="9579382" y="587441"/>
                  <a:pt x="9441140" y="587441"/>
                </a:cubicBezTo>
                <a:lnTo>
                  <a:pt x="5460873" y="587441"/>
                </a:lnTo>
                <a:lnTo>
                  <a:pt x="250309" y="587441"/>
                </a:lnTo>
                <a:lnTo>
                  <a:pt x="0" y="587441"/>
                </a:lnTo>
                <a:lnTo>
                  <a:pt x="0" y="337132"/>
                </a:lnTo>
                <a:lnTo>
                  <a:pt x="0" y="293723"/>
                </a:lnTo>
                <a:lnTo>
                  <a:pt x="0" y="250309"/>
                </a:lnTo>
                <a:close/>
              </a:path>
            </a:pathLst>
          </a:cu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2C0264-FD71-4E12-4079-1CF611EE7D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2573" y="560684"/>
            <a:ext cx="9027435" cy="587441"/>
          </a:xfrm>
        </p:spPr>
        <p:txBody>
          <a:bodyPr lIns="720000" anchor="ctr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27" name="Tijdelijke aanduiding voor tekst 26">
            <a:extLst>
              <a:ext uri="{FF2B5EF4-FFF2-40B4-BE49-F238E27FC236}">
                <a16:creationId xmlns:a16="http://schemas.microsoft.com/office/drawing/2014/main" id="{95DCC372-38BA-4454-672B-44E05F573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566" y="1560513"/>
            <a:ext cx="6515266" cy="4543166"/>
          </a:xfrm>
        </p:spPr>
        <p:txBody>
          <a:bodyPr/>
          <a:lstStyle>
            <a:lvl1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1pPr>
            <a:lvl2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2pPr>
            <a:lvl3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3pPr>
            <a:lvl4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4pPr>
            <a:lvl5pPr marL="490538" indent="-223838">
              <a:buClr>
                <a:srgbClr val="AA8FC2"/>
              </a:buClr>
              <a:tabLst/>
              <a:defRPr>
                <a:solidFill>
                  <a:srgbClr val="102F44"/>
                </a:solidFill>
              </a:defRPr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25" name="Tijdelijke aanduiding voor afbeelding 24">
            <a:extLst>
              <a:ext uri="{FF2B5EF4-FFF2-40B4-BE49-F238E27FC236}">
                <a16:creationId xmlns:a16="http://schemas.microsoft.com/office/drawing/2014/main" id="{9D1ECF00-2FEA-0CE1-991C-4C8F91C5B4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534273" y="895454"/>
            <a:ext cx="4657724" cy="5651338"/>
          </a:xfrm>
          <a:custGeom>
            <a:avLst/>
            <a:gdLst>
              <a:gd name="connsiteX0" fmla="*/ 2143704 w 4657724"/>
              <a:gd name="connsiteY0" fmla="*/ 0 h 5651338"/>
              <a:gd name="connsiteX1" fmla="*/ 4657724 w 4657724"/>
              <a:gd name="connsiteY1" fmla="*/ 0 h 5651338"/>
              <a:gd name="connsiteX2" fmla="*/ 4657724 w 4657724"/>
              <a:gd name="connsiteY2" fmla="*/ 5651338 h 5651338"/>
              <a:gd name="connsiteX3" fmla="*/ 0 w 4657724"/>
              <a:gd name="connsiteY3" fmla="*/ 5651338 h 5651338"/>
              <a:gd name="connsiteX4" fmla="*/ 0 w 4657724"/>
              <a:gd name="connsiteY4" fmla="*/ 245855 h 5651338"/>
              <a:gd name="connsiteX5" fmla="*/ 1894294 w 4657724"/>
              <a:gd name="connsiteY5" fmla="*/ 245855 h 5651338"/>
              <a:gd name="connsiteX6" fmla="*/ 2124932 w 4657724"/>
              <a:gd name="connsiteY6" fmla="*/ 92978 h 5651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7724" h="5651338">
                <a:moveTo>
                  <a:pt x="2143704" y="0"/>
                </a:moveTo>
                <a:lnTo>
                  <a:pt x="4657724" y="0"/>
                </a:lnTo>
                <a:lnTo>
                  <a:pt x="4657724" y="5651338"/>
                </a:lnTo>
                <a:lnTo>
                  <a:pt x="0" y="5651338"/>
                </a:lnTo>
                <a:lnTo>
                  <a:pt x="0" y="245855"/>
                </a:lnTo>
                <a:lnTo>
                  <a:pt x="1894294" y="245855"/>
                </a:lnTo>
                <a:cubicBezTo>
                  <a:pt x="1997975" y="245855"/>
                  <a:pt x="2086934" y="182817"/>
                  <a:pt x="2124932" y="92978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41661342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en verticale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83400439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e 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nl-NL"/>
              <a:t>Klik om stijl te bewerk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BA07E9A-3463-47D7-B44E-370DA679E528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2CECC1-EE61-41B1-AF05-850ABA5EBA81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282600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E9132D6-0004-C34B-A570-7AECE002713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054072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56198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E9132D6-0004-C34B-A570-7AECE002713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314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E9132D6-0004-C34B-A570-7AECE002713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968710" cy="6858000"/>
          </a:xfrm>
          <a:solidFill>
            <a:schemeClr val="bg1">
              <a:lumMod val="95000"/>
            </a:schemeClr>
          </a:solidFill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4593966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FEDC2B7A-3961-0F4B-B76C-63CFDAAC280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4103963" cy="6858000"/>
          </a:xfrm>
          <a:solidFill>
            <a:schemeClr val="bg2">
              <a:lumMod val="95000"/>
            </a:schemeClr>
          </a:solidFill>
        </p:spPr>
        <p:txBody>
          <a:bodyPr>
            <a:normAutofit/>
          </a:bodyPr>
          <a:lstStyle>
            <a:lvl1pPr algn="ctr">
              <a:defRPr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0088432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76752D1-F74E-FF48-AD8B-FE9A598B98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15260" y="347403"/>
            <a:ext cx="2741121" cy="3100202"/>
          </a:xfrm>
          <a:custGeom>
            <a:avLst/>
            <a:gdLst>
              <a:gd name="connsiteX0" fmla="*/ 0 w 5480815"/>
              <a:gd name="connsiteY0" fmla="*/ 0 h 6200404"/>
              <a:gd name="connsiteX1" fmla="*/ 5480815 w 5480815"/>
              <a:gd name="connsiteY1" fmla="*/ 0 h 6200404"/>
              <a:gd name="connsiteX2" fmla="*/ 5480815 w 5480815"/>
              <a:gd name="connsiteY2" fmla="*/ 6200404 h 6200404"/>
              <a:gd name="connsiteX3" fmla="*/ 0 w 5480815"/>
              <a:gd name="connsiteY3" fmla="*/ 6200404 h 62004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80815" h="6200404">
                <a:moveTo>
                  <a:pt x="0" y="0"/>
                </a:moveTo>
                <a:lnTo>
                  <a:pt x="5480815" y="0"/>
                </a:lnTo>
                <a:lnTo>
                  <a:pt x="5480815" y="6200404"/>
                </a:lnTo>
                <a:lnTo>
                  <a:pt x="0" y="6200404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6808136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82C6DA0-5B74-724B-9352-7EF529CD74C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319" y="1340"/>
            <a:ext cx="3511688" cy="6851952"/>
          </a:xfrm>
          <a:custGeom>
            <a:avLst/>
            <a:gdLst>
              <a:gd name="connsiteX0" fmla="*/ 0 w 7021546"/>
              <a:gd name="connsiteY0" fmla="*/ 0 h 13703904"/>
              <a:gd name="connsiteX1" fmla="*/ 7021546 w 7021546"/>
              <a:gd name="connsiteY1" fmla="*/ 0 h 13703904"/>
              <a:gd name="connsiteX2" fmla="*/ 7021546 w 7021546"/>
              <a:gd name="connsiteY2" fmla="*/ 13703904 h 13703904"/>
              <a:gd name="connsiteX3" fmla="*/ 0 w 7021546"/>
              <a:gd name="connsiteY3" fmla="*/ 13703904 h 137039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21546" h="13703904">
                <a:moveTo>
                  <a:pt x="0" y="0"/>
                </a:moveTo>
                <a:lnTo>
                  <a:pt x="7021546" y="0"/>
                </a:lnTo>
                <a:lnTo>
                  <a:pt x="7021546" y="13703904"/>
                </a:lnTo>
                <a:lnTo>
                  <a:pt x="0" y="13703904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75875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8A4AF05-91CC-0342-ACEC-09FDA5DF575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4054" y="396901"/>
            <a:ext cx="3392148" cy="3391267"/>
          </a:xfrm>
          <a:custGeom>
            <a:avLst/>
            <a:gdLst>
              <a:gd name="connsiteX0" fmla="*/ 3391265 w 6782530"/>
              <a:gd name="connsiteY0" fmla="*/ 0 h 6782533"/>
              <a:gd name="connsiteX1" fmla="*/ 6782530 w 6782530"/>
              <a:gd name="connsiteY1" fmla="*/ 3390644 h 6782533"/>
              <a:gd name="connsiteX2" fmla="*/ 3391265 w 6782530"/>
              <a:gd name="connsiteY2" fmla="*/ 6782533 h 6782533"/>
              <a:gd name="connsiteX3" fmla="*/ 0 w 6782530"/>
              <a:gd name="connsiteY3" fmla="*/ 3390644 h 6782533"/>
              <a:gd name="connsiteX4" fmla="*/ 3391265 w 6782530"/>
              <a:gd name="connsiteY4" fmla="*/ 0 h 67825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782530" h="6782533">
                <a:moveTo>
                  <a:pt x="3391265" y="0"/>
                </a:moveTo>
                <a:cubicBezTo>
                  <a:pt x="5264369" y="0"/>
                  <a:pt x="6782530" y="1517195"/>
                  <a:pt x="6782530" y="3390644"/>
                </a:cubicBezTo>
                <a:cubicBezTo>
                  <a:pt x="6782530" y="5265338"/>
                  <a:pt x="5264369" y="6782533"/>
                  <a:pt x="3391265" y="6782533"/>
                </a:cubicBezTo>
                <a:cubicBezTo>
                  <a:pt x="1518161" y="6782533"/>
                  <a:pt x="0" y="5265338"/>
                  <a:pt x="0" y="3390644"/>
                </a:cubicBezTo>
                <a:cubicBezTo>
                  <a:pt x="0" y="1517195"/>
                  <a:pt x="1518161" y="0"/>
                  <a:pt x="3391265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0094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78F9EDA-58CD-F945-AFC5-A6BA4893D29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35"/>
            <a:ext cx="3741041" cy="6854561"/>
          </a:xfrm>
          <a:custGeom>
            <a:avLst/>
            <a:gdLst>
              <a:gd name="connsiteX0" fmla="*/ 0 w 7480133"/>
              <a:gd name="connsiteY0" fmla="*/ 0 h 13709122"/>
              <a:gd name="connsiteX1" fmla="*/ 7480133 w 7480133"/>
              <a:gd name="connsiteY1" fmla="*/ 0 h 13709122"/>
              <a:gd name="connsiteX2" fmla="*/ 7480133 w 7480133"/>
              <a:gd name="connsiteY2" fmla="*/ 13709122 h 13709122"/>
              <a:gd name="connsiteX3" fmla="*/ 0 w 7480133"/>
              <a:gd name="connsiteY3" fmla="*/ 13709122 h 137091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0133" h="13709122">
                <a:moveTo>
                  <a:pt x="0" y="0"/>
                </a:moveTo>
                <a:lnTo>
                  <a:pt x="7480133" y="0"/>
                </a:lnTo>
                <a:lnTo>
                  <a:pt x="7480133" y="13709122"/>
                </a:lnTo>
                <a:lnTo>
                  <a:pt x="0" y="13709122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94821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8FAA57A-E921-A31D-66C5-46AAEEE92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8B0773E-DA12-E832-02A6-62C0A2C6E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18EFBC-DF31-3021-C0A7-425E41A6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70757AAC-28A0-1896-19E8-105A91E114E1}"/>
              </a:ext>
            </a:extLst>
          </p:cNvPr>
          <p:cNvSpPr/>
          <p:nvPr userDrawn="1"/>
        </p:nvSpPr>
        <p:spPr>
          <a:xfrm>
            <a:off x="0" y="1"/>
            <a:ext cx="12192000" cy="895453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D62E622-DCA2-FC17-741F-ED0A963BCBE4}"/>
              </a:ext>
            </a:extLst>
          </p:cNvPr>
          <p:cNvSpPr/>
          <p:nvPr userDrawn="1"/>
        </p:nvSpPr>
        <p:spPr>
          <a:xfrm>
            <a:off x="-12572" y="6546793"/>
            <a:ext cx="12204569" cy="316458"/>
          </a:xfrm>
          <a:prstGeom prst="rect">
            <a:avLst/>
          </a:pr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95B1C276-C89A-D80F-11C5-03D45DB73117}"/>
              </a:ext>
            </a:extLst>
          </p:cNvPr>
          <p:cNvGrpSpPr/>
          <p:nvPr userDrawn="1"/>
        </p:nvGrpSpPr>
        <p:grpSpPr>
          <a:xfrm>
            <a:off x="10349008" y="304800"/>
            <a:ext cx="1283457" cy="427536"/>
            <a:chOff x="216620" y="3284504"/>
            <a:chExt cx="5991069" cy="1995703"/>
          </a:xfrm>
          <a:solidFill>
            <a:srgbClr val="AA8FC2"/>
          </a:solidFill>
        </p:grpSpPr>
        <p:grpSp>
          <p:nvGrpSpPr>
            <p:cNvPr id="12" name="Graphic 2">
              <a:extLst>
                <a:ext uri="{FF2B5EF4-FFF2-40B4-BE49-F238E27FC236}">
                  <a16:creationId xmlns:a16="http://schemas.microsoft.com/office/drawing/2014/main" id="{EB7CA6FA-3157-E50B-7AB3-4B1446714383}"/>
                </a:ext>
              </a:extLst>
            </p:cNvPr>
            <p:cNvGrpSpPr/>
            <p:nvPr/>
          </p:nvGrpSpPr>
          <p:grpSpPr>
            <a:xfrm>
              <a:off x="477994" y="3284504"/>
              <a:ext cx="5729695" cy="970554"/>
              <a:chOff x="477994" y="3284504"/>
              <a:chExt cx="5729695" cy="970554"/>
            </a:xfrm>
            <a:grpFill/>
          </p:grpSpPr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D1FB865B-395D-4AB3-F3AB-0168FD68EFD9}"/>
                  </a:ext>
                </a:extLst>
              </p:cNvPr>
              <p:cNvSpPr/>
              <p:nvPr/>
            </p:nvSpPr>
            <p:spPr>
              <a:xfrm>
                <a:off x="477994" y="3284504"/>
                <a:ext cx="1104206" cy="970554"/>
              </a:xfrm>
              <a:custGeom>
                <a:avLst/>
                <a:gdLst>
                  <a:gd name="connsiteX0" fmla="*/ 1104207 w 1104206"/>
                  <a:gd name="connsiteY0" fmla="*/ 646593 h 970554"/>
                  <a:gd name="connsiteX1" fmla="*/ 590591 w 1104206"/>
                  <a:gd name="connsiteY1" fmla="*/ 970555 h 970554"/>
                  <a:gd name="connsiteX2" fmla="*/ 0 w 1104206"/>
                  <a:gd name="connsiteY2" fmla="*/ 797560 h 970554"/>
                  <a:gd name="connsiteX3" fmla="*/ 157757 w 1104206"/>
                  <a:gd name="connsiteY3" fmla="*/ 615450 h 970554"/>
                  <a:gd name="connsiteX4" fmla="*/ 595824 w 1104206"/>
                  <a:gd name="connsiteY4" fmla="*/ 746858 h 970554"/>
                  <a:gd name="connsiteX5" fmla="*/ 790119 w 1104206"/>
                  <a:gd name="connsiteY5" fmla="*/ 679255 h 970554"/>
                  <a:gd name="connsiteX6" fmla="*/ 568517 w 1104206"/>
                  <a:gd name="connsiteY6" fmla="*/ 605101 h 970554"/>
                  <a:gd name="connsiteX7" fmla="*/ 39201 w 1104206"/>
                  <a:gd name="connsiteY7" fmla="*/ 308485 h 970554"/>
                  <a:gd name="connsiteX8" fmla="*/ 552722 w 1104206"/>
                  <a:gd name="connsiteY8" fmla="*/ 0 h 970554"/>
                  <a:gd name="connsiteX9" fmla="*/ 1065100 w 1104206"/>
                  <a:gd name="connsiteY9" fmla="*/ 131408 h 970554"/>
                  <a:gd name="connsiteX10" fmla="*/ 913813 w 1104206"/>
                  <a:gd name="connsiteY10" fmla="*/ 316176 h 970554"/>
                  <a:gd name="connsiteX11" fmla="*/ 552722 w 1104206"/>
                  <a:gd name="connsiteY11" fmla="*/ 221228 h 970554"/>
                  <a:gd name="connsiteX12" fmla="*/ 353289 w 1104206"/>
                  <a:gd name="connsiteY12" fmla="*/ 282374 h 970554"/>
                  <a:gd name="connsiteX13" fmla="*/ 582789 w 1104206"/>
                  <a:gd name="connsiteY13" fmla="*/ 347508 h 970554"/>
                  <a:gd name="connsiteX14" fmla="*/ 1104207 w 1104206"/>
                  <a:gd name="connsiteY14" fmla="*/ 64668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206" h="970554">
                    <a:moveTo>
                      <a:pt x="1104207" y="646593"/>
                    </a:moveTo>
                    <a:cubicBezTo>
                      <a:pt x="1104207" y="843040"/>
                      <a:pt x="928181" y="970555"/>
                      <a:pt x="590591" y="970555"/>
                    </a:cubicBezTo>
                    <a:cubicBezTo>
                      <a:pt x="353194" y="970555"/>
                      <a:pt x="147291" y="908079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858"/>
                      <a:pt x="595824" y="746858"/>
                    </a:cubicBezTo>
                    <a:cubicBezTo>
                      <a:pt x="726179" y="746858"/>
                      <a:pt x="790119" y="724735"/>
                      <a:pt x="790119" y="679255"/>
                    </a:cubicBezTo>
                    <a:cubicBezTo>
                      <a:pt x="790119" y="633775"/>
                      <a:pt x="737882" y="619438"/>
                      <a:pt x="568517" y="605101"/>
                    </a:cubicBezTo>
                    <a:cubicBezTo>
                      <a:pt x="288207" y="580320"/>
                      <a:pt x="39201" y="516610"/>
                      <a:pt x="39201" y="308485"/>
                    </a:cubicBezTo>
                    <a:cubicBezTo>
                      <a:pt x="39201" y="100360"/>
                      <a:pt x="256808" y="0"/>
                      <a:pt x="552722" y="0"/>
                    </a:cubicBezTo>
                    <a:cubicBezTo>
                      <a:pt x="744447" y="0"/>
                      <a:pt x="933509" y="44246"/>
                      <a:pt x="1065100" y="131408"/>
                    </a:cubicBezTo>
                    <a:lnTo>
                      <a:pt x="913813" y="316176"/>
                    </a:lnTo>
                    <a:cubicBezTo>
                      <a:pt x="810862" y="248573"/>
                      <a:pt x="689641" y="221228"/>
                      <a:pt x="552722" y="221228"/>
                    </a:cubicBezTo>
                    <a:cubicBezTo>
                      <a:pt x="460142" y="221228"/>
                      <a:pt x="353289" y="232907"/>
                      <a:pt x="353289" y="282374"/>
                    </a:cubicBezTo>
                    <a:cubicBezTo>
                      <a:pt x="353289" y="326620"/>
                      <a:pt x="435498" y="335735"/>
                      <a:pt x="582789" y="347508"/>
                    </a:cubicBezTo>
                    <a:cubicBezTo>
                      <a:pt x="887837" y="372195"/>
                      <a:pt x="1104207" y="430777"/>
                      <a:pt x="1104207" y="64668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1C322801-9480-7065-1B3D-0B2A7C7EEF1E}"/>
                  </a:ext>
                </a:extLst>
              </p:cNvPr>
              <p:cNvSpPr/>
              <p:nvPr/>
            </p:nvSpPr>
            <p:spPr>
              <a:xfrm>
                <a:off x="1618167" y="3314412"/>
                <a:ext cx="1039029" cy="910642"/>
              </a:xfrm>
              <a:custGeom>
                <a:avLst/>
                <a:gdLst>
                  <a:gd name="connsiteX0" fmla="*/ 1038934 w 1039029"/>
                  <a:gd name="connsiteY0" fmla="*/ 240692 h 910642"/>
                  <a:gd name="connsiteX1" fmla="*/ 677843 w 1039029"/>
                  <a:gd name="connsiteY1" fmla="*/ 240692 h 910642"/>
                  <a:gd name="connsiteX2" fmla="*/ 677843 w 1039029"/>
                  <a:gd name="connsiteY2" fmla="*/ 910643 h 910642"/>
                  <a:gd name="connsiteX3" fmla="*/ 359854 w 1039029"/>
                  <a:gd name="connsiteY3" fmla="*/ 910643 h 910642"/>
                  <a:gd name="connsiteX4" fmla="*/ 359854 w 1039029"/>
                  <a:gd name="connsiteY4" fmla="*/ 240692 h 910642"/>
                  <a:gd name="connsiteX5" fmla="*/ 0 w 1039029"/>
                  <a:gd name="connsiteY5" fmla="*/ 240692 h 910642"/>
                  <a:gd name="connsiteX6" fmla="*/ 0 w 1039029"/>
                  <a:gd name="connsiteY6" fmla="*/ 0 h 910642"/>
                  <a:gd name="connsiteX7" fmla="*/ 1039029 w 1039029"/>
                  <a:gd name="connsiteY7" fmla="*/ 0 h 910642"/>
                  <a:gd name="connsiteX8" fmla="*/ 1039029 w 1039029"/>
                  <a:gd name="connsiteY8" fmla="*/ 240692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029" h="910642">
                    <a:moveTo>
                      <a:pt x="1038934" y="240692"/>
                    </a:moveTo>
                    <a:lnTo>
                      <a:pt x="677843" y="240692"/>
                    </a:lnTo>
                    <a:lnTo>
                      <a:pt x="677843" y="910643"/>
                    </a:lnTo>
                    <a:lnTo>
                      <a:pt x="359854" y="910643"/>
                    </a:lnTo>
                    <a:lnTo>
                      <a:pt x="359854" y="240692"/>
                    </a:lnTo>
                    <a:lnTo>
                      <a:pt x="0" y="240692"/>
                    </a:lnTo>
                    <a:lnTo>
                      <a:pt x="0" y="0"/>
                    </a:lnTo>
                    <a:lnTo>
                      <a:pt x="1039029" y="0"/>
                    </a:lnTo>
                    <a:lnTo>
                      <a:pt x="1039029" y="240692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4DCD4E40-4E4E-589F-0F18-1204C35210EC}"/>
                  </a:ext>
                </a:extLst>
              </p:cNvPr>
              <p:cNvSpPr/>
              <p:nvPr/>
            </p:nvSpPr>
            <p:spPr>
              <a:xfrm>
                <a:off x="2778893" y="3314412"/>
                <a:ext cx="1091171" cy="940646"/>
              </a:xfrm>
              <a:custGeom>
                <a:avLst/>
                <a:gdLst>
                  <a:gd name="connsiteX0" fmla="*/ 1091171 w 1091171"/>
                  <a:gd name="connsiteY0" fmla="*/ 0 h 940646"/>
                  <a:gd name="connsiteX1" fmla="*/ 1091171 w 1091171"/>
                  <a:gd name="connsiteY1" fmla="*/ 481384 h 940646"/>
                  <a:gd name="connsiteX2" fmla="*/ 546252 w 1091171"/>
                  <a:gd name="connsiteY2" fmla="*/ 940646 h 940646"/>
                  <a:gd name="connsiteX3" fmla="*/ 0 w 1091171"/>
                  <a:gd name="connsiteY3" fmla="*/ 481384 h 940646"/>
                  <a:gd name="connsiteX4" fmla="*/ 0 w 1091171"/>
                  <a:gd name="connsiteY4" fmla="*/ 0 h 940646"/>
                  <a:gd name="connsiteX5" fmla="*/ 317989 w 1091171"/>
                  <a:gd name="connsiteY5" fmla="*/ 0 h 940646"/>
                  <a:gd name="connsiteX6" fmla="*/ 317989 w 1091171"/>
                  <a:gd name="connsiteY6" fmla="*/ 456698 h 940646"/>
                  <a:gd name="connsiteX7" fmla="*/ 546252 w 1091171"/>
                  <a:gd name="connsiteY7" fmla="*/ 689510 h 940646"/>
                  <a:gd name="connsiteX8" fmla="*/ 773087 w 1091171"/>
                  <a:gd name="connsiteY8" fmla="*/ 456698 h 940646"/>
                  <a:gd name="connsiteX9" fmla="*/ 773087 w 1091171"/>
                  <a:gd name="connsiteY9" fmla="*/ 0 h 940646"/>
                  <a:gd name="connsiteX10" fmla="*/ 1091076 w 1091171"/>
                  <a:gd name="connsiteY10" fmla="*/ 0 h 94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171" h="940646">
                    <a:moveTo>
                      <a:pt x="1091171" y="0"/>
                    </a:moveTo>
                    <a:lnTo>
                      <a:pt x="1091171" y="481384"/>
                    </a:lnTo>
                    <a:cubicBezTo>
                      <a:pt x="1091171" y="762429"/>
                      <a:pt x="895640" y="940646"/>
                      <a:pt x="546252" y="940646"/>
                    </a:cubicBezTo>
                    <a:cubicBezTo>
                      <a:pt x="196864" y="940646"/>
                      <a:pt x="0" y="762429"/>
                      <a:pt x="0" y="481384"/>
                    </a:cubicBezTo>
                    <a:lnTo>
                      <a:pt x="0" y="0"/>
                    </a:lnTo>
                    <a:lnTo>
                      <a:pt x="317989" y="0"/>
                    </a:lnTo>
                    <a:lnTo>
                      <a:pt x="317989" y="456698"/>
                    </a:lnTo>
                    <a:cubicBezTo>
                      <a:pt x="317989" y="591998"/>
                      <a:pt x="388494" y="689510"/>
                      <a:pt x="546252" y="689510"/>
                    </a:cubicBezTo>
                    <a:cubicBezTo>
                      <a:pt x="704009" y="689510"/>
                      <a:pt x="773087" y="591903"/>
                      <a:pt x="773087" y="456698"/>
                    </a:cubicBezTo>
                    <a:lnTo>
                      <a:pt x="773087" y="0"/>
                    </a:lnTo>
                    <a:lnTo>
                      <a:pt x="1091076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3A0F9D93-9E6F-3F4D-C178-2EC2E1ED0152}"/>
                  </a:ext>
                </a:extLst>
              </p:cNvPr>
              <p:cNvSpPr/>
              <p:nvPr/>
            </p:nvSpPr>
            <p:spPr>
              <a:xfrm>
                <a:off x="4018116" y="3314412"/>
                <a:ext cx="1113340" cy="910737"/>
              </a:xfrm>
              <a:custGeom>
                <a:avLst/>
                <a:gdLst>
                  <a:gd name="connsiteX0" fmla="*/ 1113341 w 1113340"/>
                  <a:gd name="connsiteY0" fmla="*/ 455369 h 910737"/>
                  <a:gd name="connsiteX1" fmla="*/ 531979 w 1113340"/>
                  <a:gd name="connsiteY1" fmla="*/ 910738 h 910737"/>
                  <a:gd name="connsiteX2" fmla="*/ 0 w 1113340"/>
                  <a:gd name="connsiteY2" fmla="*/ 910738 h 910737"/>
                  <a:gd name="connsiteX3" fmla="*/ 0 w 1113340"/>
                  <a:gd name="connsiteY3" fmla="*/ 0 h 910737"/>
                  <a:gd name="connsiteX4" fmla="*/ 531979 w 1113340"/>
                  <a:gd name="connsiteY4" fmla="*/ 0 h 910737"/>
                  <a:gd name="connsiteX5" fmla="*/ 1113341 w 1113340"/>
                  <a:gd name="connsiteY5" fmla="*/ 455369 h 910737"/>
                  <a:gd name="connsiteX6" fmla="*/ 788692 w 1113340"/>
                  <a:gd name="connsiteY6" fmla="*/ 455369 h 910737"/>
                  <a:gd name="connsiteX7" fmla="*/ 505813 w 1113340"/>
                  <a:gd name="connsiteY7" fmla="*/ 242021 h 910737"/>
                  <a:gd name="connsiteX8" fmla="*/ 318179 w 1113340"/>
                  <a:gd name="connsiteY8" fmla="*/ 242021 h 910737"/>
                  <a:gd name="connsiteX9" fmla="*/ 318179 w 1113340"/>
                  <a:gd name="connsiteY9" fmla="*/ 668716 h 910737"/>
                  <a:gd name="connsiteX10" fmla="*/ 505813 w 1113340"/>
                  <a:gd name="connsiteY10" fmla="*/ 668716 h 910737"/>
                  <a:gd name="connsiteX11" fmla="*/ 788692 w 1113340"/>
                  <a:gd name="connsiteY11" fmla="*/ 455369 h 91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3340" h="910737">
                    <a:moveTo>
                      <a:pt x="1113341" y="455369"/>
                    </a:moveTo>
                    <a:cubicBezTo>
                      <a:pt x="1113341" y="742870"/>
                      <a:pt x="886505" y="910738"/>
                      <a:pt x="531979" y="910738"/>
                    </a:cubicBezTo>
                    <a:lnTo>
                      <a:pt x="0" y="910738"/>
                    </a:lnTo>
                    <a:lnTo>
                      <a:pt x="0" y="0"/>
                    </a:lnTo>
                    <a:lnTo>
                      <a:pt x="531979" y="0"/>
                    </a:lnTo>
                    <a:cubicBezTo>
                      <a:pt x="886505" y="0"/>
                      <a:pt x="1113341" y="166538"/>
                      <a:pt x="1113341" y="455369"/>
                    </a:cubicBezTo>
                    <a:close/>
                    <a:moveTo>
                      <a:pt x="788692" y="455369"/>
                    </a:moveTo>
                    <a:cubicBezTo>
                      <a:pt x="788692" y="317505"/>
                      <a:pt x="680507" y="242021"/>
                      <a:pt x="505813" y="242021"/>
                    </a:cubicBezTo>
                    <a:lnTo>
                      <a:pt x="318179" y="242021"/>
                    </a:lnTo>
                    <a:lnTo>
                      <a:pt x="318179" y="668716"/>
                    </a:lnTo>
                    <a:lnTo>
                      <a:pt x="505813" y="668716"/>
                    </a:lnTo>
                    <a:cubicBezTo>
                      <a:pt x="680507" y="668716"/>
                      <a:pt x="788692" y="593328"/>
                      <a:pt x="788692" y="455369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777510F1-4D03-66E7-F6EA-340A16CD0CF0}"/>
                  </a:ext>
                </a:extLst>
              </p:cNvPr>
              <p:cNvSpPr/>
              <p:nvPr/>
            </p:nvSpPr>
            <p:spPr>
              <a:xfrm>
                <a:off x="5052578" y="3314412"/>
                <a:ext cx="1155111" cy="910642"/>
              </a:xfrm>
              <a:custGeom>
                <a:avLst/>
                <a:gdLst>
                  <a:gd name="connsiteX0" fmla="*/ 350720 w 1155111"/>
                  <a:gd name="connsiteY0" fmla="*/ 0 h 910642"/>
                  <a:gd name="connsiteX1" fmla="*/ 578888 w 1155111"/>
                  <a:gd name="connsiteY1" fmla="*/ 361656 h 910642"/>
                  <a:gd name="connsiteX2" fmla="*/ 805723 w 1155111"/>
                  <a:gd name="connsiteY2" fmla="*/ 0 h 910642"/>
                  <a:gd name="connsiteX3" fmla="*/ 1155112 w 1155111"/>
                  <a:gd name="connsiteY3" fmla="*/ 0 h 910642"/>
                  <a:gd name="connsiteX4" fmla="*/ 736645 w 1155111"/>
                  <a:gd name="connsiteY4" fmla="*/ 607570 h 910642"/>
                  <a:gd name="connsiteX5" fmla="*/ 736645 w 1155111"/>
                  <a:gd name="connsiteY5" fmla="*/ 910643 h 910642"/>
                  <a:gd name="connsiteX6" fmla="*/ 418466 w 1155111"/>
                  <a:gd name="connsiteY6" fmla="*/ 910643 h 910642"/>
                  <a:gd name="connsiteX7" fmla="*/ 418466 w 1155111"/>
                  <a:gd name="connsiteY7" fmla="*/ 607570 h 910642"/>
                  <a:gd name="connsiteX8" fmla="*/ 0 w 1155111"/>
                  <a:gd name="connsiteY8" fmla="*/ 0 h 910642"/>
                  <a:gd name="connsiteX9" fmla="*/ 350720 w 1155111"/>
                  <a:gd name="connsiteY9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5111" h="910642">
                    <a:moveTo>
                      <a:pt x="350720" y="0"/>
                    </a:moveTo>
                    <a:lnTo>
                      <a:pt x="578888" y="361656"/>
                    </a:lnTo>
                    <a:lnTo>
                      <a:pt x="805723" y="0"/>
                    </a:lnTo>
                    <a:lnTo>
                      <a:pt x="1155112" y="0"/>
                    </a:lnTo>
                    <a:lnTo>
                      <a:pt x="736645" y="607570"/>
                    </a:lnTo>
                    <a:lnTo>
                      <a:pt x="736645" y="910643"/>
                    </a:lnTo>
                    <a:lnTo>
                      <a:pt x="418466" y="910643"/>
                    </a:lnTo>
                    <a:lnTo>
                      <a:pt x="418466" y="607570"/>
                    </a:lnTo>
                    <a:lnTo>
                      <a:pt x="0" y="0"/>
                    </a:lnTo>
                    <a:lnTo>
                      <a:pt x="350720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13" name="Graphic 2">
              <a:extLst>
                <a:ext uri="{FF2B5EF4-FFF2-40B4-BE49-F238E27FC236}">
                  <a16:creationId xmlns:a16="http://schemas.microsoft.com/office/drawing/2014/main" id="{C8E60236-23E2-3D5B-0C5D-EA3D475D359C}"/>
                </a:ext>
              </a:extLst>
            </p:cNvPr>
            <p:cNvGrpSpPr/>
            <p:nvPr/>
          </p:nvGrpSpPr>
          <p:grpSpPr>
            <a:xfrm>
              <a:off x="216620" y="4309653"/>
              <a:ext cx="4438329" cy="970554"/>
              <a:chOff x="216620" y="4309653"/>
              <a:chExt cx="4438329" cy="970554"/>
            </a:xfrm>
            <a:grpFill/>
          </p:grpSpPr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CD337F57-6131-AE17-407F-024B187DE94B}"/>
                  </a:ext>
                </a:extLst>
              </p:cNvPr>
              <p:cNvSpPr/>
              <p:nvPr/>
            </p:nvSpPr>
            <p:spPr>
              <a:xfrm>
                <a:off x="216620" y="4339656"/>
                <a:ext cx="1662256" cy="910642"/>
              </a:xfrm>
              <a:custGeom>
                <a:avLst/>
                <a:gdLst>
                  <a:gd name="connsiteX0" fmla="*/ 1662162 w 1662256"/>
                  <a:gd name="connsiteY0" fmla="*/ 0 h 910642"/>
                  <a:gd name="connsiteX1" fmla="*/ 1329710 w 1662256"/>
                  <a:gd name="connsiteY1" fmla="*/ 910643 h 910642"/>
                  <a:gd name="connsiteX2" fmla="*/ 1018192 w 1662256"/>
                  <a:gd name="connsiteY2" fmla="*/ 910643 h 910642"/>
                  <a:gd name="connsiteX3" fmla="*/ 831794 w 1662256"/>
                  <a:gd name="connsiteY3" fmla="*/ 326525 h 910642"/>
                  <a:gd name="connsiteX4" fmla="*/ 644065 w 1662256"/>
                  <a:gd name="connsiteY4" fmla="*/ 910643 h 910642"/>
                  <a:gd name="connsiteX5" fmla="*/ 332451 w 1662256"/>
                  <a:gd name="connsiteY5" fmla="*/ 910643 h 910642"/>
                  <a:gd name="connsiteX6" fmla="*/ 0 w 1662256"/>
                  <a:gd name="connsiteY6" fmla="*/ 0 h 910642"/>
                  <a:gd name="connsiteX7" fmla="*/ 319416 w 1662256"/>
                  <a:gd name="connsiteY7" fmla="*/ 0 h 910642"/>
                  <a:gd name="connsiteX8" fmla="*/ 496679 w 1662256"/>
                  <a:gd name="connsiteY8" fmla="*/ 582788 h 910642"/>
                  <a:gd name="connsiteX9" fmla="*/ 690974 w 1662256"/>
                  <a:gd name="connsiteY9" fmla="*/ 0 h 910642"/>
                  <a:gd name="connsiteX10" fmla="*/ 976516 w 1662256"/>
                  <a:gd name="connsiteY10" fmla="*/ 0 h 910642"/>
                  <a:gd name="connsiteX11" fmla="*/ 1170811 w 1662256"/>
                  <a:gd name="connsiteY11" fmla="*/ 582788 h 910642"/>
                  <a:gd name="connsiteX12" fmla="*/ 1348074 w 1662256"/>
                  <a:gd name="connsiteY12" fmla="*/ 0 h 910642"/>
                  <a:gd name="connsiteX13" fmla="*/ 1662257 w 1662256"/>
                  <a:gd name="connsiteY13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2256" h="910642">
                    <a:moveTo>
                      <a:pt x="1662162" y="0"/>
                    </a:moveTo>
                    <a:lnTo>
                      <a:pt x="1329710" y="910643"/>
                    </a:lnTo>
                    <a:lnTo>
                      <a:pt x="1018192" y="910643"/>
                    </a:lnTo>
                    <a:lnTo>
                      <a:pt x="831794" y="326525"/>
                    </a:lnTo>
                    <a:lnTo>
                      <a:pt x="644065" y="910643"/>
                    </a:lnTo>
                    <a:lnTo>
                      <a:pt x="332451" y="910643"/>
                    </a:lnTo>
                    <a:lnTo>
                      <a:pt x="0" y="0"/>
                    </a:lnTo>
                    <a:lnTo>
                      <a:pt x="319416" y="0"/>
                    </a:lnTo>
                    <a:lnTo>
                      <a:pt x="496679" y="582788"/>
                    </a:lnTo>
                    <a:lnTo>
                      <a:pt x="690974" y="0"/>
                    </a:lnTo>
                    <a:lnTo>
                      <a:pt x="976516" y="0"/>
                    </a:lnTo>
                    <a:lnTo>
                      <a:pt x="1170811" y="582788"/>
                    </a:lnTo>
                    <a:lnTo>
                      <a:pt x="1348074" y="0"/>
                    </a:lnTo>
                    <a:lnTo>
                      <a:pt x="1662257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6AF3095D-49EB-804A-4BD2-5E8B22F0298C}"/>
                  </a:ext>
                </a:extLst>
              </p:cNvPr>
              <p:cNvSpPr/>
              <p:nvPr/>
            </p:nvSpPr>
            <p:spPr>
              <a:xfrm>
                <a:off x="1977451" y="4339656"/>
                <a:ext cx="318178" cy="910642"/>
              </a:xfrm>
              <a:custGeom>
                <a:avLst/>
                <a:gdLst>
                  <a:gd name="connsiteX0" fmla="*/ 0 w 318178"/>
                  <a:gd name="connsiteY0" fmla="*/ 910643 h 910642"/>
                  <a:gd name="connsiteX1" fmla="*/ 0 w 318178"/>
                  <a:gd name="connsiteY1" fmla="*/ 0 h 910642"/>
                  <a:gd name="connsiteX2" fmla="*/ 318179 w 318178"/>
                  <a:gd name="connsiteY2" fmla="*/ 0 h 910642"/>
                  <a:gd name="connsiteX3" fmla="*/ 318179 w 318178"/>
                  <a:gd name="connsiteY3" fmla="*/ 910643 h 910642"/>
                  <a:gd name="connsiteX4" fmla="*/ 0 w 318178"/>
                  <a:gd name="connsiteY4" fmla="*/ 910643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78" h="910642">
                    <a:moveTo>
                      <a:pt x="0" y="910643"/>
                    </a:moveTo>
                    <a:lnTo>
                      <a:pt x="0" y="0"/>
                    </a:lnTo>
                    <a:lnTo>
                      <a:pt x="318179" y="0"/>
                    </a:lnTo>
                    <a:lnTo>
                      <a:pt x="318179" y="910643"/>
                    </a:lnTo>
                    <a:lnTo>
                      <a:pt x="0" y="910643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16112BBF-521F-F9C5-C06C-F7CE358C6A92}"/>
                  </a:ext>
                </a:extLst>
              </p:cNvPr>
              <p:cNvSpPr/>
              <p:nvPr/>
            </p:nvSpPr>
            <p:spPr>
              <a:xfrm>
                <a:off x="2414471" y="4309653"/>
                <a:ext cx="1104492" cy="970554"/>
              </a:xfrm>
              <a:custGeom>
                <a:avLst/>
                <a:gdLst>
                  <a:gd name="connsiteX0" fmla="*/ 1104302 w 1104492"/>
                  <a:gd name="connsiteY0" fmla="*/ 646593 h 970554"/>
                  <a:gd name="connsiteX1" fmla="*/ 590591 w 1104492"/>
                  <a:gd name="connsiteY1" fmla="*/ 970555 h 970554"/>
                  <a:gd name="connsiteX2" fmla="*/ 0 w 1104492"/>
                  <a:gd name="connsiteY2" fmla="*/ 797560 h 970554"/>
                  <a:gd name="connsiteX3" fmla="*/ 157757 w 1104492"/>
                  <a:gd name="connsiteY3" fmla="*/ 615450 h 970554"/>
                  <a:gd name="connsiteX4" fmla="*/ 595824 w 1104492"/>
                  <a:gd name="connsiteY4" fmla="*/ 746763 h 970554"/>
                  <a:gd name="connsiteX5" fmla="*/ 790119 w 1104492"/>
                  <a:gd name="connsiteY5" fmla="*/ 679065 h 970554"/>
                  <a:gd name="connsiteX6" fmla="*/ 568516 w 1104492"/>
                  <a:gd name="connsiteY6" fmla="*/ 604911 h 970554"/>
                  <a:gd name="connsiteX7" fmla="*/ 39201 w 1104492"/>
                  <a:gd name="connsiteY7" fmla="*/ 308295 h 970554"/>
                  <a:gd name="connsiteX8" fmla="*/ 552912 w 1104492"/>
                  <a:gd name="connsiteY8" fmla="*/ 0 h 970554"/>
                  <a:gd name="connsiteX9" fmla="*/ 1065291 w 1104492"/>
                  <a:gd name="connsiteY9" fmla="*/ 131313 h 970554"/>
                  <a:gd name="connsiteX10" fmla="*/ 914098 w 1104492"/>
                  <a:gd name="connsiteY10" fmla="*/ 316081 h 970554"/>
                  <a:gd name="connsiteX11" fmla="*/ 553007 w 1104492"/>
                  <a:gd name="connsiteY11" fmla="*/ 221038 h 970554"/>
                  <a:gd name="connsiteX12" fmla="*/ 353574 w 1104492"/>
                  <a:gd name="connsiteY12" fmla="*/ 282279 h 970554"/>
                  <a:gd name="connsiteX13" fmla="*/ 582979 w 1104492"/>
                  <a:gd name="connsiteY13" fmla="*/ 347318 h 970554"/>
                  <a:gd name="connsiteX14" fmla="*/ 1104492 w 1104492"/>
                  <a:gd name="connsiteY14" fmla="*/ 64649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492" h="970554">
                    <a:moveTo>
                      <a:pt x="1104302" y="646593"/>
                    </a:moveTo>
                    <a:cubicBezTo>
                      <a:pt x="1104302" y="843135"/>
                      <a:pt x="928276" y="970555"/>
                      <a:pt x="590591" y="970555"/>
                    </a:cubicBezTo>
                    <a:cubicBezTo>
                      <a:pt x="353384" y="970555"/>
                      <a:pt x="147386" y="908174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763"/>
                      <a:pt x="595824" y="746763"/>
                    </a:cubicBezTo>
                    <a:cubicBezTo>
                      <a:pt x="726274" y="746763"/>
                      <a:pt x="790119" y="724640"/>
                      <a:pt x="790119" y="679065"/>
                    </a:cubicBezTo>
                    <a:cubicBezTo>
                      <a:pt x="790119" y="633491"/>
                      <a:pt x="737977" y="619343"/>
                      <a:pt x="568516" y="604911"/>
                    </a:cubicBezTo>
                    <a:cubicBezTo>
                      <a:pt x="288302" y="580225"/>
                      <a:pt x="39201" y="516420"/>
                      <a:pt x="39201" y="308295"/>
                    </a:cubicBezTo>
                    <a:cubicBezTo>
                      <a:pt x="39201" y="100170"/>
                      <a:pt x="256903" y="0"/>
                      <a:pt x="552912" y="0"/>
                    </a:cubicBezTo>
                    <a:cubicBezTo>
                      <a:pt x="744542" y="0"/>
                      <a:pt x="933604" y="44151"/>
                      <a:pt x="1065291" y="131313"/>
                    </a:cubicBezTo>
                    <a:lnTo>
                      <a:pt x="914098" y="316081"/>
                    </a:lnTo>
                    <a:cubicBezTo>
                      <a:pt x="811052" y="248383"/>
                      <a:pt x="689832" y="221038"/>
                      <a:pt x="553007" y="221038"/>
                    </a:cubicBezTo>
                    <a:cubicBezTo>
                      <a:pt x="460427" y="221038"/>
                      <a:pt x="353574" y="232812"/>
                      <a:pt x="353574" y="282279"/>
                    </a:cubicBezTo>
                    <a:cubicBezTo>
                      <a:pt x="353574" y="326430"/>
                      <a:pt x="435688" y="335545"/>
                      <a:pt x="582979" y="347318"/>
                    </a:cubicBezTo>
                    <a:cubicBezTo>
                      <a:pt x="888028" y="372005"/>
                      <a:pt x="1104492" y="430588"/>
                      <a:pt x="1104492" y="64649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9CEE7A33-9286-FFA9-AC30-117527430257}"/>
                  </a:ext>
                </a:extLst>
              </p:cNvPr>
              <p:cNvSpPr/>
              <p:nvPr/>
            </p:nvSpPr>
            <p:spPr>
              <a:xfrm>
                <a:off x="3652362" y="4339656"/>
                <a:ext cx="1002587" cy="910642"/>
              </a:xfrm>
              <a:custGeom>
                <a:avLst/>
                <a:gdLst>
                  <a:gd name="connsiteX0" fmla="*/ 1002492 w 1002587"/>
                  <a:gd name="connsiteY0" fmla="*/ 681629 h 910642"/>
                  <a:gd name="connsiteX1" fmla="*/ 1002492 w 1002587"/>
                  <a:gd name="connsiteY1" fmla="*/ 910643 h 910642"/>
                  <a:gd name="connsiteX2" fmla="*/ 0 w 1002587"/>
                  <a:gd name="connsiteY2" fmla="*/ 910643 h 910642"/>
                  <a:gd name="connsiteX3" fmla="*/ 0 w 1002587"/>
                  <a:gd name="connsiteY3" fmla="*/ 0 h 910642"/>
                  <a:gd name="connsiteX4" fmla="*/ 988220 w 1002587"/>
                  <a:gd name="connsiteY4" fmla="*/ 0 h 910642"/>
                  <a:gd name="connsiteX5" fmla="*/ 988220 w 1002587"/>
                  <a:gd name="connsiteY5" fmla="*/ 229014 h 910642"/>
                  <a:gd name="connsiteX6" fmla="*/ 311614 w 1002587"/>
                  <a:gd name="connsiteY6" fmla="*/ 229014 h 910642"/>
                  <a:gd name="connsiteX7" fmla="*/ 311614 w 1002587"/>
                  <a:gd name="connsiteY7" fmla="*/ 344755 h 910642"/>
                  <a:gd name="connsiteX8" fmla="*/ 863098 w 1002587"/>
                  <a:gd name="connsiteY8" fmla="*/ 344755 h 910642"/>
                  <a:gd name="connsiteX9" fmla="*/ 863098 w 1002587"/>
                  <a:gd name="connsiteY9" fmla="*/ 555444 h 910642"/>
                  <a:gd name="connsiteX10" fmla="*/ 311614 w 1002587"/>
                  <a:gd name="connsiteY10" fmla="*/ 555444 h 910642"/>
                  <a:gd name="connsiteX11" fmla="*/ 311614 w 1002587"/>
                  <a:gd name="connsiteY11" fmla="*/ 681629 h 910642"/>
                  <a:gd name="connsiteX12" fmla="*/ 1002587 w 1002587"/>
                  <a:gd name="connsiteY12" fmla="*/ 681629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2587" h="910642">
                    <a:moveTo>
                      <a:pt x="1002492" y="681629"/>
                    </a:moveTo>
                    <a:lnTo>
                      <a:pt x="1002492" y="910643"/>
                    </a:lnTo>
                    <a:lnTo>
                      <a:pt x="0" y="910643"/>
                    </a:lnTo>
                    <a:lnTo>
                      <a:pt x="0" y="0"/>
                    </a:lnTo>
                    <a:lnTo>
                      <a:pt x="988220" y="0"/>
                    </a:lnTo>
                    <a:lnTo>
                      <a:pt x="988220" y="229014"/>
                    </a:lnTo>
                    <a:lnTo>
                      <a:pt x="311614" y="229014"/>
                    </a:lnTo>
                    <a:lnTo>
                      <a:pt x="311614" y="344755"/>
                    </a:lnTo>
                    <a:lnTo>
                      <a:pt x="863098" y="344755"/>
                    </a:lnTo>
                    <a:lnTo>
                      <a:pt x="863098" y="555444"/>
                    </a:lnTo>
                    <a:lnTo>
                      <a:pt x="311614" y="555444"/>
                    </a:lnTo>
                    <a:lnTo>
                      <a:pt x="311614" y="681629"/>
                    </a:lnTo>
                    <a:lnTo>
                      <a:pt x="1002587" y="681629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sp>
        <p:nvSpPr>
          <p:cNvPr id="23" name="Vrije vorm 22">
            <a:extLst>
              <a:ext uri="{FF2B5EF4-FFF2-40B4-BE49-F238E27FC236}">
                <a16:creationId xmlns:a16="http://schemas.microsoft.com/office/drawing/2014/main" id="{6FC2BFBA-3EFB-AE5D-0FE8-25EF84DD7C1D}"/>
              </a:ext>
            </a:extLst>
          </p:cNvPr>
          <p:cNvSpPr/>
          <p:nvPr userDrawn="1"/>
        </p:nvSpPr>
        <p:spPr>
          <a:xfrm>
            <a:off x="-12573" y="553868"/>
            <a:ext cx="9691449" cy="587441"/>
          </a:xfrm>
          <a:custGeom>
            <a:avLst/>
            <a:gdLst>
              <a:gd name="connsiteX0" fmla="*/ 0 w 9691449"/>
              <a:gd name="connsiteY0" fmla="*/ 0 h 587441"/>
              <a:gd name="connsiteX1" fmla="*/ 250309 w 9691449"/>
              <a:gd name="connsiteY1" fmla="*/ 0 h 587441"/>
              <a:gd name="connsiteX2" fmla="*/ 5460873 w 9691449"/>
              <a:gd name="connsiteY2" fmla="*/ 0 h 587441"/>
              <a:gd name="connsiteX3" fmla="*/ 9441140 w 9691449"/>
              <a:gd name="connsiteY3" fmla="*/ 0 h 587441"/>
              <a:gd name="connsiteX4" fmla="*/ 9691449 w 9691449"/>
              <a:gd name="connsiteY4" fmla="*/ 0 h 587441"/>
              <a:gd name="connsiteX5" fmla="*/ 9691449 w 9691449"/>
              <a:gd name="connsiteY5" fmla="*/ 250309 h 587441"/>
              <a:gd name="connsiteX6" fmla="*/ 9691449 w 9691449"/>
              <a:gd name="connsiteY6" fmla="*/ 293723 h 587441"/>
              <a:gd name="connsiteX7" fmla="*/ 9691449 w 9691449"/>
              <a:gd name="connsiteY7" fmla="*/ 337132 h 587441"/>
              <a:gd name="connsiteX8" fmla="*/ 9441140 w 9691449"/>
              <a:gd name="connsiteY8" fmla="*/ 587441 h 587441"/>
              <a:gd name="connsiteX9" fmla="*/ 5460873 w 9691449"/>
              <a:gd name="connsiteY9" fmla="*/ 587441 h 587441"/>
              <a:gd name="connsiteX10" fmla="*/ 250309 w 9691449"/>
              <a:gd name="connsiteY10" fmla="*/ 587441 h 587441"/>
              <a:gd name="connsiteX11" fmla="*/ 0 w 9691449"/>
              <a:gd name="connsiteY11" fmla="*/ 587441 h 587441"/>
              <a:gd name="connsiteX12" fmla="*/ 0 w 9691449"/>
              <a:gd name="connsiteY12" fmla="*/ 337132 h 587441"/>
              <a:gd name="connsiteX13" fmla="*/ 0 w 9691449"/>
              <a:gd name="connsiteY13" fmla="*/ 293723 h 587441"/>
              <a:gd name="connsiteX14" fmla="*/ 0 w 9691449"/>
              <a:gd name="connsiteY14" fmla="*/ 250309 h 587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91449" h="587441">
                <a:moveTo>
                  <a:pt x="0" y="0"/>
                </a:moveTo>
                <a:lnTo>
                  <a:pt x="250309" y="0"/>
                </a:lnTo>
                <a:lnTo>
                  <a:pt x="5460873" y="0"/>
                </a:lnTo>
                <a:lnTo>
                  <a:pt x="9441140" y="0"/>
                </a:lnTo>
                <a:lnTo>
                  <a:pt x="9691449" y="0"/>
                </a:lnTo>
                <a:lnTo>
                  <a:pt x="9691449" y="250309"/>
                </a:lnTo>
                <a:lnTo>
                  <a:pt x="9691449" y="293723"/>
                </a:lnTo>
                <a:lnTo>
                  <a:pt x="9691449" y="337132"/>
                </a:lnTo>
                <a:cubicBezTo>
                  <a:pt x="9691449" y="475374"/>
                  <a:pt x="9579382" y="587441"/>
                  <a:pt x="9441140" y="587441"/>
                </a:cubicBezTo>
                <a:lnTo>
                  <a:pt x="5460873" y="587441"/>
                </a:lnTo>
                <a:lnTo>
                  <a:pt x="250309" y="587441"/>
                </a:lnTo>
                <a:lnTo>
                  <a:pt x="0" y="587441"/>
                </a:lnTo>
                <a:lnTo>
                  <a:pt x="0" y="337132"/>
                </a:lnTo>
                <a:lnTo>
                  <a:pt x="0" y="293723"/>
                </a:lnTo>
                <a:lnTo>
                  <a:pt x="0" y="250309"/>
                </a:lnTo>
                <a:close/>
              </a:path>
            </a:pathLst>
          </a:cu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2C0264-FD71-4E12-4079-1CF611EE7D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2573" y="560684"/>
            <a:ext cx="9027435" cy="587441"/>
          </a:xfrm>
        </p:spPr>
        <p:txBody>
          <a:bodyPr lIns="720000" anchor="ctr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27" name="Tijdelijke aanduiding voor tekst 26">
            <a:extLst>
              <a:ext uri="{FF2B5EF4-FFF2-40B4-BE49-F238E27FC236}">
                <a16:creationId xmlns:a16="http://schemas.microsoft.com/office/drawing/2014/main" id="{95DCC372-38BA-4454-672B-44E05F573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566" y="1560513"/>
            <a:ext cx="6515266" cy="4543166"/>
          </a:xfrm>
        </p:spPr>
        <p:txBody>
          <a:bodyPr/>
          <a:lstStyle>
            <a:lvl1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1pPr>
            <a:lvl2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2pPr>
            <a:lvl3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3pPr>
            <a:lvl4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4pPr>
            <a:lvl5pPr marL="447675" indent="-180975">
              <a:buClr>
                <a:srgbClr val="AA8FC2"/>
              </a:buClr>
              <a:tabLst/>
              <a:defRPr>
                <a:solidFill>
                  <a:srgbClr val="102F44"/>
                </a:solidFill>
              </a:defRPr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101404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3BA1D55B-0FA1-354E-B128-F21A44EBF19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403809" y="564436"/>
            <a:ext cx="2636673" cy="2635987"/>
          </a:xfrm>
          <a:custGeom>
            <a:avLst/>
            <a:gdLst>
              <a:gd name="connsiteX0" fmla="*/ 2635987 w 5271973"/>
              <a:gd name="connsiteY0" fmla="*/ 0 h 5271974"/>
              <a:gd name="connsiteX1" fmla="*/ 5271973 w 5271973"/>
              <a:gd name="connsiteY1" fmla="*/ 2636610 h 5271974"/>
              <a:gd name="connsiteX2" fmla="*/ 2635987 w 5271973"/>
              <a:gd name="connsiteY2" fmla="*/ 5271974 h 5271974"/>
              <a:gd name="connsiteX3" fmla="*/ 0 w 5271973"/>
              <a:gd name="connsiteY3" fmla="*/ 2636610 h 5271974"/>
              <a:gd name="connsiteX4" fmla="*/ 2635987 w 5271973"/>
              <a:gd name="connsiteY4" fmla="*/ 0 h 527197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71973" h="5271974">
                <a:moveTo>
                  <a:pt x="2635987" y="0"/>
                </a:moveTo>
                <a:cubicBezTo>
                  <a:pt x="4091569" y="0"/>
                  <a:pt x="5271973" y="1180683"/>
                  <a:pt x="5271973" y="2636610"/>
                </a:cubicBezTo>
                <a:cubicBezTo>
                  <a:pt x="5271973" y="4092536"/>
                  <a:pt x="4091569" y="5271974"/>
                  <a:pt x="2635987" y="5271974"/>
                </a:cubicBezTo>
                <a:cubicBezTo>
                  <a:pt x="1179159" y="5271974"/>
                  <a:pt x="0" y="4092536"/>
                  <a:pt x="0" y="2636610"/>
                </a:cubicBezTo>
                <a:cubicBezTo>
                  <a:pt x="0" y="1180683"/>
                  <a:pt x="1179159" y="0"/>
                  <a:pt x="2635987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90190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1456E59-225B-5D42-95B2-56B2348D2C8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30091" y="844525"/>
            <a:ext cx="4144960" cy="5176572"/>
          </a:xfrm>
          <a:custGeom>
            <a:avLst/>
            <a:gdLst>
              <a:gd name="connsiteX0" fmla="*/ 0 w 8287761"/>
              <a:gd name="connsiteY0" fmla="*/ 0 h 10353143"/>
              <a:gd name="connsiteX1" fmla="*/ 8287761 w 8287761"/>
              <a:gd name="connsiteY1" fmla="*/ 0 h 10353143"/>
              <a:gd name="connsiteX2" fmla="*/ 8287761 w 8287761"/>
              <a:gd name="connsiteY2" fmla="*/ 10353143 h 10353143"/>
              <a:gd name="connsiteX3" fmla="*/ 0 w 8287761"/>
              <a:gd name="connsiteY3" fmla="*/ 10353143 h 103531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287761" h="10353143">
                <a:moveTo>
                  <a:pt x="0" y="0"/>
                </a:moveTo>
                <a:lnTo>
                  <a:pt x="8287761" y="0"/>
                </a:lnTo>
                <a:lnTo>
                  <a:pt x="8287761" y="10353143"/>
                </a:lnTo>
                <a:lnTo>
                  <a:pt x="0" y="10353143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31113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5E027E2-1D94-E747-A188-B09AAE9FFE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57566" y="1001076"/>
            <a:ext cx="4752100" cy="4863470"/>
          </a:xfrm>
          <a:custGeom>
            <a:avLst/>
            <a:gdLst>
              <a:gd name="connsiteX0" fmla="*/ 4750862 w 9501724"/>
              <a:gd name="connsiteY0" fmla="*/ 0 h 9726939"/>
              <a:gd name="connsiteX1" fmla="*/ 9501724 w 9501724"/>
              <a:gd name="connsiteY1" fmla="*/ 4862847 h 9726939"/>
              <a:gd name="connsiteX2" fmla="*/ 4750862 w 9501724"/>
              <a:gd name="connsiteY2" fmla="*/ 9726939 h 9726939"/>
              <a:gd name="connsiteX3" fmla="*/ 0 w 9501724"/>
              <a:gd name="connsiteY3" fmla="*/ 4862847 h 9726939"/>
              <a:gd name="connsiteX4" fmla="*/ 4750862 w 9501724"/>
              <a:gd name="connsiteY4" fmla="*/ 0 h 97269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501724" h="9726939">
                <a:moveTo>
                  <a:pt x="4750862" y="0"/>
                </a:moveTo>
                <a:cubicBezTo>
                  <a:pt x="7375421" y="0"/>
                  <a:pt x="9501724" y="2178565"/>
                  <a:pt x="9501724" y="4862847"/>
                </a:cubicBezTo>
                <a:cubicBezTo>
                  <a:pt x="9501724" y="7549619"/>
                  <a:pt x="7375421" y="9726939"/>
                  <a:pt x="4750862" y="9726939"/>
                </a:cubicBezTo>
                <a:cubicBezTo>
                  <a:pt x="2126304" y="9726939"/>
                  <a:pt x="0" y="7549619"/>
                  <a:pt x="0" y="4862847"/>
                </a:cubicBezTo>
                <a:cubicBezTo>
                  <a:pt x="0" y="2178565"/>
                  <a:pt x="2126304" y="0"/>
                  <a:pt x="4750862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9132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5CC7A87-FBAA-2546-AAF0-A924823B9C1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829512" y="380360"/>
            <a:ext cx="4606494" cy="2570123"/>
          </a:xfrm>
          <a:custGeom>
            <a:avLst/>
            <a:gdLst>
              <a:gd name="connsiteX0" fmla="*/ 0 w 9210588"/>
              <a:gd name="connsiteY0" fmla="*/ 0 h 5140245"/>
              <a:gd name="connsiteX1" fmla="*/ 8097098 w 9210588"/>
              <a:gd name="connsiteY1" fmla="*/ 0 h 5140245"/>
              <a:gd name="connsiteX2" fmla="*/ 9210588 w 9210588"/>
              <a:gd name="connsiteY2" fmla="*/ 1114032 h 5140245"/>
              <a:gd name="connsiteX3" fmla="*/ 9210588 w 9210588"/>
              <a:gd name="connsiteY3" fmla="*/ 5140245 h 5140245"/>
              <a:gd name="connsiteX4" fmla="*/ 0 w 9210588"/>
              <a:gd name="connsiteY4" fmla="*/ 5140245 h 5140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10588" h="5140245">
                <a:moveTo>
                  <a:pt x="0" y="0"/>
                </a:moveTo>
                <a:lnTo>
                  <a:pt x="8097098" y="0"/>
                </a:lnTo>
                <a:cubicBezTo>
                  <a:pt x="8712384" y="0"/>
                  <a:pt x="9210588" y="498448"/>
                  <a:pt x="9210588" y="1114032"/>
                </a:cubicBezTo>
                <a:lnTo>
                  <a:pt x="9210588" y="5140245"/>
                </a:lnTo>
                <a:lnTo>
                  <a:pt x="0" y="5140245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4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664715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03E7A9F-8129-1E48-BDBF-713DFB576DE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994495" y="1388336"/>
            <a:ext cx="2677934" cy="2531672"/>
          </a:xfrm>
          <a:custGeom>
            <a:avLst/>
            <a:gdLst>
              <a:gd name="connsiteX0" fmla="*/ 0 w 5354473"/>
              <a:gd name="connsiteY0" fmla="*/ 0 h 5063343"/>
              <a:gd name="connsiteX1" fmla="*/ 5354473 w 5354473"/>
              <a:gd name="connsiteY1" fmla="*/ 0 h 5063343"/>
              <a:gd name="connsiteX2" fmla="*/ 5354473 w 5354473"/>
              <a:gd name="connsiteY2" fmla="*/ 5063343 h 5063343"/>
              <a:gd name="connsiteX3" fmla="*/ 0 w 5354473"/>
              <a:gd name="connsiteY3" fmla="*/ 5063343 h 50633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354473" h="5063343">
                <a:moveTo>
                  <a:pt x="0" y="0"/>
                </a:moveTo>
                <a:lnTo>
                  <a:pt x="5354473" y="0"/>
                </a:lnTo>
                <a:lnTo>
                  <a:pt x="5354473" y="5063343"/>
                </a:lnTo>
                <a:lnTo>
                  <a:pt x="0" y="5063343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60710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13BA2F4-BEAF-A141-BED3-B9160FB9CF8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20" y="1340"/>
            <a:ext cx="3741116" cy="6854699"/>
          </a:xfrm>
          <a:custGeom>
            <a:avLst/>
            <a:gdLst>
              <a:gd name="connsiteX0" fmla="*/ 0 w 7480283"/>
              <a:gd name="connsiteY0" fmla="*/ 0 h 13709397"/>
              <a:gd name="connsiteX1" fmla="*/ 7480283 w 7480283"/>
              <a:gd name="connsiteY1" fmla="*/ 0 h 13709397"/>
              <a:gd name="connsiteX2" fmla="*/ 7480283 w 7480283"/>
              <a:gd name="connsiteY2" fmla="*/ 13709397 h 13709397"/>
              <a:gd name="connsiteX3" fmla="*/ 0 w 7480283"/>
              <a:gd name="connsiteY3" fmla="*/ 13709397 h 13709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480283" h="13709397">
                <a:moveTo>
                  <a:pt x="0" y="0"/>
                </a:moveTo>
                <a:lnTo>
                  <a:pt x="7480283" y="0"/>
                </a:lnTo>
                <a:lnTo>
                  <a:pt x="7480283" y="13709397"/>
                </a:lnTo>
                <a:lnTo>
                  <a:pt x="0" y="13709397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82064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82B071-F520-6D40-ABEB-ED7B8941E9A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9538" y="1251009"/>
            <a:ext cx="4098257" cy="4094442"/>
          </a:xfrm>
          <a:custGeom>
            <a:avLst/>
            <a:gdLst>
              <a:gd name="connsiteX0" fmla="*/ 4097813 w 8194379"/>
              <a:gd name="connsiteY0" fmla="*/ 0 h 8188884"/>
              <a:gd name="connsiteX1" fmla="*/ 8194379 w 8194379"/>
              <a:gd name="connsiteY1" fmla="*/ 4094442 h 8188884"/>
              <a:gd name="connsiteX2" fmla="*/ 4097813 w 8194379"/>
              <a:gd name="connsiteY2" fmla="*/ 8188884 h 8188884"/>
              <a:gd name="connsiteX3" fmla="*/ 0 w 8194379"/>
              <a:gd name="connsiteY3" fmla="*/ 4094442 h 8188884"/>
              <a:gd name="connsiteX4" fmla="*/ 4097813 w 8194379"/>
              <a:gd name="connsiteY4" fmla="*/ 0 h 818888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194379" h="8188884">
                <a:moveTo>
                  <a:pt x="4097813" y="0"/>
                </a:moveTo>
                <a:cubicBezTo>
                  <a:pt x="6360393" y="0"/>
                  <a:pt x="8194379" y="1834281"/>
                  <a:pt x="8194379" y="4094442"/>
                </a:cubicBezTo>
                <a:cubicBezTo>
                  <a:pt x="8194379" y="6355850"/>
                  <a:pt x="6360393" y="8188884"/>
                  <a:pt x="4097813" y="8188884"/>
                </a:cubicBezTo>
                <a:cubicBezTo>
                  <a:pt x="1833987" y="8188884"/>
                  <a:pt x="0" y="6355850"/>
                  <a:pt x="0" y="4094442"/>
                </a:cubicBezTo>
                <a:cubicBezTo>
                  <a:pt x="0" y="1834281"/>
                  <a:pt x="1833987" y="0"/>
                  <a:pt x="4097813" y="0"/>
                </a:cubicBezTo>
                <a:close/>
              </a:path>
            </a:pathLst>
          </a:custGeom>
          <a:noFill/>
          <a:ln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559160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0B86E049-5FDC-6C41-905D-3AD6955459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64159" y="611068"/>
            <a:ext cx="3191668" cy="3111190"/>
          </a:xfrm>
          <a:custGeom>
            <a:avLst/>
            <a:gdLst>
              <a:gd name="connsiteX0" fmla="*/ 622846 w 6381673"/>
              <a:gd name="connsiteY0" fmla="*/ 0 h 6222379"/>
              <a:gd name="connsiteX1" fmla="*/ 5758827 w 6381673"/>
              <a:gd name="connsiteY1" fmla="*/ 0 h 6222379"/>
              <a:gd name="connsiteX2" fmla="*/ 6381673 w 6381673"/>
              <a:gd name="connsiteY2" fmla="*/ 622861 h 6222379"/>
              <a:gd name="connsiteX3" fmla="*/ 6381673 w 6381673"/>
              <a:gd name="connsiteY3" fmla="*/ 5599518 h 6222379"/>
              <a:gd name="connsiteX4" fmla="*/ 5758827 w 6381673"/>
              <a:gd name="connsiteY4" fmla="*/ 6222379 h 6222379"/>
              <a:gd name="connsiteX5" fmla="*/ 622846 w 6381673"/>
              <a:gd name="connsiteY5" fmla="*/ 6222379 h 6222379"/>
              <a:gd name="connsiteX6" fmla="*/ 0 w 6381673"/>
              <a:gd name="connsiteY6" fmla="*/ 5599518 h 6222379"/>
              <a:gd name="connsiteX7" fmla="*/ 0 w 6381673"/>
              <a:gd name="connsiteY7" fmla="*/ 622861 h 6222379"/>
              <a:gd name="connsiteX8" fmla="*/ 622846 w 6381673"/>
              <a:gd name="connsiteY8" fmla="*/ 0 h 62223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381673" h="6222379">
                <a:moveTo>
                  <a:pt x="622846" y="0"/>
                </a:moveTo>
                <a:lnTo>
                  <a:pt x="5758827" y="0"/>
                </a:lnTo>
                <a:cubicBezTo>
                  <a:pt x="6101392" y="0"/>
                  <a:pt x="6381673" y="280288"/>
                  <a:pt x="6381673" y="622861"/>
                </a:cubicBezTo>
                <a:lnTo>
                  <a:pt x="6381673" y="5599518"/>
                </a:lnTo>
                <a:cubicBezTo>
                  <a:pt x="6381673" y="5942091"/>
                  <a:pt x="6101392" y="6222379"/>
                  <a:pt x="5758827" y="6222379"/>
                </a:cubicBezTo>
                <a:lnTo>
                  <a:pt x="622846" y="6222379"/>
                </a:lnTo>
                <a:cubicBezTo>
                  <a:pt x="280280" y="6222379"/>
                  <a:pt x="0" y="5942091"/>
                  <a:pt x="0" y="5599518"/>
                </a:cubicBezTo>
                <a:lnTo>
                  <a:pt x="0" y="622861"/>
                </a:lnTo>
                <a:cubicBezTo>
                  <a:pt x="0" y="280288"/>
                  <a:pt x="280280" y="0"/>
                  <a:pt x="622846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18366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F0AD915-6AA3-8D42-8955-C52BDAC890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37784" y="380360"/>
            <a:ext cx="3848259" cy="3671480"/>
          </a:xfrm>
          <a:custGeom>
            <a:avLst/>
            <a:gdLst>
              <a:gd name="connsiteX0" fmla="*/ 0 w 7694514"/>
              <a:gd name="connsiteY0" fmla="*/ 0 h 7342959"/>
              <a:gd name="connsiteX1" fmla="*/ 7694514 w 7694514"/>
              <a:gd name="connsiteY1" fmla="*/ 0 h 7342959"/>
              <a:gd name="connsiteX2" fmla="*/ 7694514 w 7694514"/>
              <a:gd name="connsiteY2" fmla="*/ 7342959 h 7342959"/>
              <a:gd name="connsiteX3" fmla="*/ 0 w 7694514"/>
              <a:gd name="connsiteY3" fmla="*/ 7342959 h 73429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694514" h="7342959">
                <a:moveTo>
                  <a:pt x="0" y="0"/>
                </a:moveTo>
                <a:lnTo>
                  <a:pt x="7694514" y="0"/>
                </a:lnTo>
                <a:lnTo>
                  <a:pt x="7694514" y="7342959"/>
                </a:lnTo>
                <a:lnTo>
                  <a:pt x="0" y="7342959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40027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22A03B82-4515-344C-8081-9639E080EC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21" y="1340"/>
            <a:ext cx="4870229" cy="6854698"/>
          </a:xfrm>
          <a:custGeom>
            <a:avLst/>
            <a:gdLst>
              <a:gd name="connsiteX0" fmla="*/ 0 w 9737922"/>
              <a:gd name="connsiteY0" fmla="*/ 0 h 13709395"/>
              <a:gd name="connsiteX1" fmla="*/ 9737922 w 9737922"/>
              <a:gd name="connsiteY1" fmla="*/ 0 h 13709395"/>
              <a:gd name="connsiteX2" fmla="*/ 9737922 w 9737922"/>
              <a:gd name="connsiteY2" fmla="*/ 13709395 h 13709395"/>
              <a:gd name="connsiteX3" fmla="*/ 0 w 9737922"/>
              <a:gd name="connsiteY3" fmla="*/ 13709395 h 137093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37922" h="13709395">
                <a:moveTo>
                  <a:pt x="0" y="0"/>
                </a:moveTo>
                <a:lnTo>
                  <a:pt x="9737922" y="0"/>
                </a:lnTo>
                <a:lnTo>
                  <a:pt x="9737922" y="13709395"/>
                </a:lnTo>
                <a:lnTo>
                  <a:pt x="0" y="13709395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82882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8FAA57A-E921-A31D-66C5-46AAEEE92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8B0773E-DA12-E832-02A6-62C0A2C6E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18EFBC-DF31-3021-C0A7-425E41A6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70757AAC-28A0-1896-19E8-105A91E114E1}"/>
              </a:ext>
            </a:extLst>
          </p:cNvPr>
          <p:cNvSpPr/>
          <p:nvPr userDrawn="1"/>
        </p:nvSpPr>
        <p:spPr>
          <a:xfrm>
            <a:off x="0" y="1"/>
            <a:ext cx="12192000" cy="895453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D62E622-DCA2-FC17-741F-ED0A963BCBE4}"/>
              </a:ext>
            </a:extLst>
          </p:cNvPr>
          <p:cNvSpPr/>
          <p:nvPr userDrawn="1"/>
        </p:nvSpPr>
        <p:spPr>
          <a:xfrm>
            <a:off x="-12572" y="6546793"/>
            <a:ext cx="12204569" cy="316458"/>
          </a:xfrm>
          <a:prstGeom prst="rect">
            <a:avLst/>
          </a:pr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95B1C276-C89A-D80F-11C5-03D45DB73117}"/>
              </a:ext>
            </a:extLst>
          </p:cNvPr>
          <p:cNvGrpSpPr/>
          <p:nvPr userDrawn="1"/>
        </p:nvGrpSpPr>
        <p:grpSpPr>
          <a:xfrm>
            <a:off x="10349008" y="304800"/>
            <a:ext cx="1283457" cy="427536"/>
            <a:chOff x="216620" y="3284504"/>
            <a:chExt cx="5991069" cy="1995703"/>
          </a:xfrm>
          <a:solidFill>
            <a:srgbClr val="AA8FC2"/>
          </a:solidFill>
        </p:grpSpPr>
        <p:grpSp>
          <p:nvGrpSpPr>
            <p:cNvPr id="12" name="Graphic 2">
              <a:extLst>
                <a:ext uri="{FF2B5EF4-FFF2-40B4-BE49-F238E27FC236}">
                  <a16:creationId xmlns:a16="http://schemas.microsoft.com/office/drawing/2014/main" id="{EB7CA6FA-3157-E50B-7AB3-4B1446714383}"/>
                </a:ext>
              </a:extLst>
            </p:cNvPr>
            <p:cNvGrpSpPr/>
            <p:nvPr/>
          </p:nvGrpSpPr>
          <p:grpSpPr>
            <a:xfrm>
              <a:off x="477994" y="3284504"/>
              <a:ext cx="5729695" cy="970554"/>
              <a:chOff x="477994" y="3284504"/>
              <a:chExt cx="5729695" cy="970554"/>
            </a:xfrm>
            <a:grpFill/>
          </p:grpSpPr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D1FB865B-395D-4AB3-F3AB-0168FD68EFD9}"/>
                  </a:ext>
                </a:extLst>
              </p:cNvPr>
              <p:cNvSpPr/>
              <p:nvPr/>
            </p:nvSpPr>
            <p:spPr>
              <a:xfrm>
                <a:off x="477994" y="3284504"/>
                <a:ext cx="1104206" cy="970554"/>
              </a:xfrm>
              <a:custGeom>
                <a:avLst/>
                <a:gdLst>
                  <a:gd name="connsiteX0" fmla="*/ 1104207 w 1104206"/>
                  <a:gd name="connsiteY0" fmla="*/ 646593 h 970554"/>
                  <a:gd name="connsiteX1" fmla="*/ 590591 w 1104206"/>
                  <a:gd name="connsiteY1" fmla="*/ 970555 h 970554"/>
                  <a:gd name="connsiteX2" fmla="*/ 0 w 1104206"/>
                  <a:gd name="connsiteY2" fmla="*/ 797560 h 970554"/>
                  <a:gd name="connsiteX3" fmla="*/ 157757 w 1104206"/>
                  <a:gd name="connsiteY3" fmla="*/ 615450 h 970554"/>
                  <a:gd name="connsiteX4" fmla="*/ 595824 w 1104206"/>
                  <a:gd name="connsiteY4" fmla="*/ 746858 h 970554"/>
                  <a:gd name="connsiteX5" fmla="*/ 790119 w 1104206"/>
                  <a:gd name="connsiteY5" fmla="*/ 679255 h 970554"/>
                  <a:gd name="connsiteX6" fmla="*/ 568517 w 1104206"/>
                  <a:gd name="connsiteY6" fmla="*/ 605101 h 970554"/>
                  <a:gd name="connsiteX7" fmla="*/ 39201 w 1104206"/>
                  <a:gd name="connsiteY7" fmla="*/ 308485 h 970554"/>
                  <a:gd name="connsiteX8" fmla="*/ 552722 w 1104206"/>
                  <a:gd name="connsiteY8" fmla="*/ 0 h 970554"/>
                  <a:gd name="connsiteX9" fmla="*/ 1065100 w 1104206"/>
                  <a:gd name="connsiteY9" fmla="*/ 131408 h 970554"/>
                  <a:gd name="connsiteX10" fmla="*/ 913813 w 1104206"/>
                  <a:gd name="connsiteY10" fmla="*/ 316176 h 970554"/>
                  <a:gd name="connsiteX11" fmla="*/ 552722 w 1104206"/>
                  <a:gd name="connsiteY11" fmla="*/ 221228 h 970554"/>
                  <a:gd name="connsiteX12" fmla="*/ 353289 w 1104206"/>
                  <a:gd name="connsiteY12" fmla="*/ 282374 h 970554"/>
                  <a:gd name="connsiteX13" fmla="*/ 582789 w 1104206"/>
                  <a:gd name="connsiteY13" fmla="*/ 347508 h 970554"/>
                  <a:gd name="connsiteX14" fmla="*/ 1104207 w 1104206"/>
                  <a:gd name="connsiteY14" fmla="*/ 64668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206" h="970554">
                    <a:moveTo>
                      <a:pt x="1104207" y="646593"/>
                    </a:moveTo>
                    <a:cubicBezTo>
                      <a:pt x="1104207" y="843040"/>
                      <a:pt x="928181" y="970555"/>
                      <a:pt x="590591" y="970555"/>
                    </a:cubicBezTo>
                    <a:cubicBezTo>
                      <a:pt x="353194" y="970555"/>
                      <a:pt x="147291" y="908079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858"/>
                      <a:pt x="595824" y="746858"/>
                    </a:cubicBezTo>
                    <a:cubicBezTo>
                      <a:pt x="726179" y="746858"/>
                      <a:pt x="790119" y="724735"/>
                      <a:pt x="790119" y="679255"/>
                    </a:cubicBezTo>
                    <a:cubicBezTo>
                      <a:pt x="790119" y="633775"/>
                      <a:pt x="737882" y="619438"/>
                      <a:pt x="568517" y="605101"/>
                    </a:cubicBezTo>
                    <a:cubicBezTo>
                      <a:pt x="288207" y="580320"/>
                      <a:pt x="39201" y="516610"/>
                      <a:pt x="39201" y="308485"/>
                    </a:cubicBezTo>
                    <a:cubicBezTo>
                      <a:pt x="39201" y="100360"/>
                      <a:pt x="256808" y="0"/>
                      <a:pt x="552722" y="0"/>
                    </a:cubicBezTo>
                    <a:cubicBezTo>
                      <a:pt x="744447" y="0"/>
                      <a:pt x="933509" y="44246"/>
                      <a:pt x="1065100" y="131408"/>
                    </a:cubicBezTo>
                    <a:lnTo>
                      <a:pt x="913813" y="316176"/>
                    </a:lnTo>
                    <a:cubicBezTo>
                      <a:pt x="810862" y="248573"/>
                      <a:pt x="689641" y="221228"/>
                      <a:pt x="552722" y="221228"/>
                    </a:cubicBezTo>
                    <a:cubicBezTo>
                      <a:pt x="460142" y="221228"/>
                      <a:pt x="353289" y="232907"/>
                      <a:pt x="353289" y="282374"/>
                    </a:cubicBezTo>
                    <a:cubicBezTo>
                      <a:pt x="353289" y="326620"/>
                      <a:pt x="435498" y="335735"/>
                      <a:pt x="582789" y="347508"/>
                    </a:cubicBezTo>
                    <a:cubicBezTo>
                      <a:pt x="887837" y="372195"/>
                      <a:pt x="1104207" y="430777"/>
                      <a:pt x="1104207" y="64668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1C322801-9480-7065-1B3D-0B2A7C7EEF1E}"/>
                  </a:ext>
                </a:extLst>
              </p:cNvPr>
              <p:cNvSpPr/>
              <p:nvPr/>
            </p:nvSpPr>
            <p:spPr>
              <a:xfrm>
                <a:off x="1618167" y="3314412"/>
                <a:ext cx="1039029" cy="910642"/>
              </a:xfrm>
              <a:custGeom>
                <a:avLst/>
                <a:gdLst>
                  <a:gd name="connsiteX0" fmla="*/ 1038934 w 1039029"/>
                  <a:gd name="connsiteY0" fmla="*/ 240692 h 910642"/>
                  <a:gd name="connsiteX1" fmla="*/ 677843 w 1039029"/>
                  <a:gd name="connsiteY1" fmla="*/ 240692 h 910642"/>
                  <a:gd name="connsiteX2" fmla="*/ 677843 w 1039029"/>
                  <a:gd name="connsiteY2" fmla="*/ 910643 h 910642"/>
                  <a:gd name="connsiteX3" fmla="*/ 359854 w 1039029"/>
                  <a:gd name="connsiteY3" fmla="*/ 910643 h 910642"/>
                  <a:gd name="connsiteX4" fmla="*/ 359854 w 1039029"/>
                  <a:gd name="connsiteY4" fmla="*/ 240692 h 910642"/>
                  <a:gd name="connsiteX5" fmla="*/ 0 w 1039029"/>
                  <a:gd name="connsiteY5" fmla="*/ 240692 h 910642"/>
                  <a:gd name="connsiteX6" fmla="*/ 0 w 1039029"/>
                  <a:gd name="connsiteY6" fmla="*/ 0 h 910642"/>
                  <a:gd name="connsiteX7" fmla="*/ 1039029 w 1039029"/>
                  <a:gd name="connsiteY7" fmla="*/ 0 h 910642"/>
                  <a:gd name="connsiteX8" fmla="*/ 1039029 w 1039029"/>
                  <a:gd name="connsiteY8" fmla="*/ 240692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029" h="910642">
                    <a:moveTo>
                      <a:pt x="1038934" y="240692"/>
                    </a:moveTo>
                    <a:lnTo>
                      <a:pt x="677843" y="240692"/>
                    </a:lnTo>
                    <a:lnTo>
                      <a:pt x="677843" y="910643"/>
                    </a:lnTo>
                    <a:lnTo>
                      <a:pt x="359854" y="910643"/>
                    </a:lnTo>
                    <a:lnTo>
                      <a:pt x="359854" y="240692"/>
                    </a:lnTo>
                    <a:lnTo>
                      <a:pt x="0" y="240692"/>
                    </a:lnTo>
                    <a:lnTo>
                      <a:pt x="0" y="0"/>
                    </a:lnTo>
                    <a:lnTo>
                      <a:pt x="1039029" y="0"/>
                    </a:lnTo>
                    <a:lnTo>
                      <a:pt x="1039029" y="240692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4DCD4E40-4E4E-589F-0F18-1204C35210EC}"/>
                  </a:ext>
                </a:extLst>
              </p:cNvPr>
              <p:cNvSpPr/>
              <p:nvPr/>
            </p:nvSpPr>
            <p:spPr>
              <a:xfrm>
                <a:off x="2778893" y="3314412"/>
                <a:ext cx="1091171" cy="940646"/>
              </a:xfrm>
              <a:custGeom>
                <a:avLst/>
                <a:gdLst>
                  <a:gd name="connsiteX0" fmla="*/ 1091171 w 1091171"/>
                  <a:gd name="connsiteY0" fmla="*/ 0 h 940646"/>
                  <a:gd name="connsiteX1" fmla="*/ 1091171 w 1091171"/>
                  <a:gd name="connsiteY1" fmla="*/ 481384 h 940646"/>
                  <a:gd name="connsiteX2" fmla="*/ 546252 w 1091171"/>
                  <a:gd name="connsiteY2" fmla="*/ 940646 h 940646"/>
                  <a:gd name="connsiteX3" fmla="*/ 0 w 1091171"/>
                  <a:gd name="connsiteY3" fmla="*/ 481384 h 940646"/>
                  <a:gd name="connsiteX4" fmla="*/ 0 w 1091171"/>
                  <a:gd name="connsiteY4" fmla="*/ 0 h 940646"/>
                  <a:gd name="connsiteX5" fmla="*/ 317989 w 1091171"/>
                  <a:gd name="connsiteY5" fmla="*/ 0 h 940646"/>
                  <a:gd name="connsiteX6" fmla="*/ 317989 w 1091171"/>
                  <a:gd name="connsiteY6" fmla="*/ 456698 h 940646"/>
                  <a:gd name="connsiteX7" fmla="*/ 546252 w 1091171"/>
                  <a:gd name="connsiteY7" fmla="*/ 689510 h 940646"/>
                  <a:gd name="connsiteX8" fmla="*/ 773087 w 1091171"/>
                  <a:gd name="connsiteY8" fmla="*/ 456698 h 940646"/>
                  <a:gd name="connsiteX9" fmla="*/ 773087 w 1091171"/>
                  <a:gd name="connsiteY9" fmla="*/ 0 h 940646"/>
                  <a:gd name="connsiteX10" fmla="*/ 1091076 w 1091171"/>
                  <a:gd name="connsiteY10" fmla="*/ 0 h 94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171" h="940646">
                    <a:moveTo>
                      <a:pt x="1091171" y="0"/>
                    </a:moveTo>
                    <a:lnTo>
                      <a:pt x="1091171" y="481384"/>
                    </a:lnTo>
                    <a:cubicBezTo>
                      <a:pt x="1091171" y="762429"/>
                      <a:pt x="895640" y="940646"/>
                      <a:pt x="546252" y="940646"/>
                    </a:cubicBezTo>
                    <a:cubicBezTo>
                      <a:pt x="196864" y="940646"/>
                      <a:pt x="0" y="762429"/>
                      <a:pt x="0" y="481384"/>
                    </a:cubicBezTo>
                    <a:lnTo>
                      <a:pt x="0" y="0"/>
                    </a:lnTo>
                    <a:lnTo>
                      <a:pt x="317989" y="0"/>
                    </a:lnTo>
                    <a:lnTo>
                      <a:pt x="317989" y="456698"/>
                    </a:lnTo>
                    <a:cubicBezTo>
                      <a:pt x="317989" y="591998"/>
                      <a:pt x="388494" y="689510"/>
                      <a:pt x="546252" y="689510"/>
                    </a:cubicBezTo>
                    <a:cubicBezTo>
                      <a:pt x="704009" y="689510"/>
                      <a:pt x="773087" y="591903"/>
                      <a:pt x="773087" y="456698"/>
                    </a:cubicBezTo>
                    <a:lnTo>
                      <a:pt x="773087" y="0"/>
                    </a:lnTo>
                    <a:lnTo>
                      <a:pt x="1091076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3A0F9D93-9E6F-3F4D-C178-2EC2E1ED0152}"/>
                  </a:ext>
                </a:extLst>
              </p:cNvPr>
              <p:cNvSpPr/>
              <p:nvPr/>
            </p:nvSpPr>
            <p:spPr>
              <a:xfrm>
                <a:off x="4018116" y="3314412"/>
                <a:ext cx="1113340" cy="910737"/>
              </a:xfrm>
              <a:custGeom>
                <a:avLst/>
                <a:gdLst>
                  <a:gd name="connsiteX0" fmla="*/ 1113341 w 1113340"/>
                  <a:gd name="connsiteY0" fmla="*/ 455369 h 910737"/>
                  <a:gd name="connsiteX1" fmla="*/ 531979 w 1113340"/>
                  <a:gd name="connsiteY1" fmla="*/ 910738 h 910737"/>
                  <a:gd name="connsiteX2" fmla="*/ 0 w 1113340"/>
                  <a:gd name="connsiteY2" fmla="*/ 910738 h 910737"/>
                  <a:gd name="connsiteX3" fmla="*/ 0 w 1113340"/>
                  <a:gd name="connsiteY3" fmla="*/ 0 h 910737"/>
                  <a:gd name="connsiteX4" fmla="*/ 531979 w 1113340"/>
                  <a:gd name="connsiteY4" fmla="*/ 0 h 910737"/>
                  <a:gd name="connsiteX5" fmla="*/ 1113341 w 1113340"/>
                  <a:gd name="connsiteY5" fmla="*/ 455369 h 910737"/>
                  <a:gd name="connsiteX6" fmla="*/ 788692 w 1113340"/>
                  <a:gd name="connsiteY6" fmla="*/ 455369 h 910737"/>
                  <a:gd name="connsiteX7" fmla="*/ 505813 w 1113340"/>
                  <a:gd name="connsiteY7" fmla="*/ 242021 h 910737"/>
                  <a:gd name="connsiteX8" fmla="*/ 318179 w 1113340"/>
                  <a:gd name="connsiteY8" fmla="*/ 242021 h 910737"/>
                  <a:gd name="connsiteX9" fmla="*/ 318179 w 1113340"/>
                  <a:gd name="connsiteY9" fmla="*/ 668716 h 910737"/>
                  <a:gd name="connsiteX10" fmla="*/ 505813 w 1113340"/>
                  <a:gd name="connsiteY10" fmla="*/ 668716 h 910737"/>
                  <a:gd name="connsiteX11" fmla="*/ 788692 w 1113340"/>
                  <a:gd name="connsiteY11" fmla="*/ 455369 h 91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3340" h="910737">
                    <a:moveTo>
                      <a:pt x="1113341" y="455369"/>
                    </a:moveTo>
                    <a:cubicBezTo>
                      <a:pt x="1113341" y="742870"/>
                      <a:pt x="886505" y="910738"/>
                      <a:pt x="531979" y="910738"/>
                    </a:cubicBezTo>
                    <a:lnTo>
                      <a:pt x="0" y="910738"/>
                    </a:lnTo>
                    <a:lnTo>
                      <a:pt x="0" y="0"/>
                    </a:lnTo>
                    <a:lnTo>
                      <a:pt x="531979" y="0"/>
                    </a:lnTo>
                    <a:cubicBezTo>
                      <a:pt x="886505" y="0"/>
                      <a:pt x="1113341" y="166538"/>
                      <a:pt x="1113341" y="455369"/>
                    </a:cubicBezTo>
                    <a:close/>
                    <a:moveTo>
                      <a:pt x="788692" y="455369"/>
                    </a:moveTo>
                    <a:cubicBezTo>
                      <a:pt x="788692" y="317505"/>
                      <a:pt x="680507" y="242021"/>
                      <a:pt x="505813" y="242021"/>
                    </a:cubicBezTo>
                    <a:lnTo>
                      <a:pt x="318179" y="242021"/>
                    </a:lnTo>
                    <a:lnTo>
                      <a:pt x="318179" y="668716"/>
                    </a:lnTo>
                    <a:lnTo>
                      <a:pt x="505813" y="668716"/>
                    </a:lnTo>
                    <a:cubicBezTo>
                      <a:pt x="680507" y="668716"/>
                      <a:pt x="788692" y="593328"/>
                      <a:pt x="788692" y="455369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777510F1-4D03-66E7-F6EA-340A16CD0CF0}"/>
                  </a:ext>
                </a:extLst>
              </p:cNvPr>
              <p:cNvSpPr/>
              <p:nvPr/>
            </p:nvSpPr>
            <p:spPr>
              <a:xfrm>
                <a:off x="5052578" y="3314412"/>
                <a:ext cx="1155111" cy="910642"/>
              </a:xfrm>
              <a:custGeom>
                <a:avLst/>
                <a:gdLst>
                  <a:gd name="connsiteX0" fmla="*/ 350720 w 1155111"/>
                  <a:gd name="connsiteY0" fmla="*/ 0 h 910642"/>
                  <a:gd name="connsiteX1" fmla="*/ 578888 w 1155111"/>
                  <a:gd name="connsiteY1" fmla="*/ 361656 h 910642"/>
                  <a:gd name="connsiteX2" fmla="*/ 805723 w 1155111"/>
                  <a:gd name="connsiteY2" fmla="*/ 0 h 910642"/>
                  <a:gd name="connsiteX3" fmla="*/ 1155112 w 1155111"/>
                  <a:gd name="connsiteY3" fmla="*/ 0 h 910642"/>
                  <a:gd name="connsiteX4" fmla="*/ 736645 w 1155111"/>
                  <a:gd name="connsiteY4" fmla="*/ 607570 h 910642"/>
                  <a:gd name="connsiteX5" fmla="*/ 736645 w 1155111"/>
                  <a:gd name="connsiteY5" fmla="*/ 910643 h 910642"/>
                  <a:gd name="connsiteX6" fmla="*/ 418466 w 1155111"/>
                  <a:gd name="connsiteY6" fmla="*/ 910643 h 910642"/>
                  <a:gd name="connsiteX7" fmla="*/ 418466 w 1155111"/>
                  <a:gd name="connsiteY7" fmla="*/ 607570 h 910642"/>
                  <a:gd name="connsiteX8" fmla="*/ 0 w 1155111"/>
                  <a:gd name="connsiteY8" fmla="*/ 0 h 910642"/>
                  <a:gd name="connsiteX9" fmla="*/ 350720 w 1155111"/>
                  <a:gd name="connsiteY9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5111" h="910642">
                    <a:moveTo>
                      <a:pt x="350720" y="0"/>
                    </a:moveTo>
                    <a:lnTo>
                      <a:pt x="578888" y="361656"/>
                    </a:lnTo>
                    <a:lnTo>
                      <a:pt x="805723" y="0"/>
                    </a:lnTo>
                    <a:lnTo>
                      <a:pt x="1155112" y="0"/>
                    </a:lnTo>
                    <a:lnTo>
                      <a:pt x="736645" y="607570"/>
                    </a:lnTo>
                    <a:lnTo>
                      <a:pt x="736645" y="910643"/>
                    </a:lnTo>
                    <a:lnTo>
                      <a:pt x="418466" y="910643"/>
                    </a:lnTo>
                    <a:lnTo>
                      <a:pt x="418466" y="607570"/>
                    </a:lnTo>
                    <a:lnTo>
                      <a:pt x="0" y="0"/>
                    </a:lnTo>
                    <a:lnTo>
                      <a:pt x="350720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13" name="Graphic 2">
              <a:extLst>
                <a:ext uri="{FF2B5EF4-FFF2-40B4-BE49-F238E27FC236}">
                  <a16:creationId xmlns:a16="http://schemas.microsoft.com/office/drawing/2014/main" id="{C8E60236-23E2-3D5B-0C5D-EA3D475D359C}"/>
                </a:ext>
              </a:extLst>
            </p:cNvPr>
            <p:cNvGrpSpPr/>
            <p:nvPr/>
          </p:nvGrpSpPr>
          <p:grpSpPr>
            <a:xfrm>
              <a:off x="216620" y="4309653"/>
              <a:ext cx="4438329" cy="970554"/>
              <a:chOff x="216620" y="4309653"/>
              <a:chExt cx="4438329" cy="970554"/>
            </a:xfrm>
            <a:grpFill/>
          </p:grpSpPr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CD337F57-6131-AE17-407F-024B187DE94B}"/>
                  </a:ext>
                </a:extLst>
              </p:cNvPr>
              <p:cNvSpPr/>
              <p:nvPr/>
            </p:nvSpPr>
            <p:spPr>
              <a:xfrm>
                <a:off x="216620" y="4339656"/>
                <a:ext cx="1662256" cy="910642"/>
              </a:xfrm>
              <a:custGeom>
                <a:avLst/>
                <a:gdLst>
                  <a:gd name="connsiteX0" fmla="*/ 1662162 w 1662256"/>
                  <a:gd name="connsiteY0" fmla="*/ 0 h 910642"/>
                  <a:gd name="connsiteX1" fmla="*/ 1329710 w 1662256"/>
                  <a:gd name="connsiteY1" fmla="*/ 910643 h 910642"/>
                  <a:gd name="connsiteX2" fmla="*/ 1018192 w 1662256"/>
                  <a:gd name="connsiteY2" fmla="*/ 910643 h 910642"/>
                  <a:gd name="connsiteX3" fmla="*/ 831794 w 1662256"/>
                  <a:gd name="connsiteY3" fmla="*/ 326525 h 910642"/>
                  <a:gd name="connsiteX4" fmla="*/ 644065 w 1662256"/>
                  <a:gd name="connsiteY4" fmla="*/ 910643 h 910642"/>
                  <a:gd name="connsiteX5" fmla="*/ 332451 w 1662256"/>
                  <a:gd name="connsiteY5" fmla="*/ 910643 h 910642"/>
                  <a:gd name="connsiteX6" fmla="*/ 0 w 1662256"/>
                  <a:gd name="connsiteY6" fmla="*/ 0 h 910642"/>
                  <a:gd name="connsiteX7" fmla="*/ 319416 w 1662256"/>
                  <a:gd name="connsiteY7" fmla="*/ 0 h 910642"/>
                  <a:gd name="connsiteX8" fmla="*/ 496679 w 1662256"/>
                  <a:gd name="connsiteY8" fmla="*/ 582788 h 910642"/>
                  <a:gd name="connsiteX9" fmla="*/ 690974 w 1662256"/>
                  <a:gd name="connsiteY9" fmla="*/ 0 h 910642"/>
                  <a:gd name="connsiteX10" fmla="*/ 976516 w 1662256"/>
                  <a:gd name="connsiteY10" fmla="*/ 0 h 910642"/>
                  <a:gd name="connsiteX11" fmla="*/ 1170811 w 1662256"/>
                  <a:gd name="connsiteY11" fmla="*/ 582788 h 910642"/>
                  <a:gd name="connsiteX12" fmla="*/ 1348074 w 1662256"/>
                  <a:gd name="connsiteY12" fmla="*/ 0 h 910642"/>
                  <a:gd name="connsiteX13" fmla="*/ 1662257 w 1662256"/>
                  <a:gd name="connsiteY13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2256" h="910642">
                    <a:moveTo>
                      <a:pt x="1662162" y="0"/>
                    </a:moveTo>
                    <a:lnTo>
                      <a:pt x="1329710" y="910643"/>
                    </a:lnTo>
                    <a:lnTo>
                      <a:pt x="1018192" y="910643"/>
                    </a:lnTo>
                    <a:lnTo>
                      <a:pt x="831794" y="326525"/>
                    </a:lnTo>
                    <a:lnTo>
                      <a:pt x="644065" y="910643"/>
                    </a:lnTo>
                    <a:lnTo>
                      <a:pt x="332451" y="910643"/>
                    </a:lnTo>
                    <a:lnTo>
                      <a:pt x="0" y="0"/>
                    </a:lnTo>
                    <a:lnTo>
                      <a:pt x="319416" y="0"/>
                    </a:lnTo>
                    <a:lnTo>
                      <a:pt x="496679" y="582788"/>
                    </a:lnTo>
                    <a:lnTo>
                      <a:pt x="690974" y="0"/>
                    </a:lnTo>
                    <a:lnTo>
                      <a:pt x="976516" y="0"/>
                    </a:lnTo>
                    <a:lnTo>
                      <a:pt x="1170811" y="582788"/>
                    </a:lnTo>
                    <a:lnTo>
                      <a:pt x="1348074" y="0"/>
                    </a:lnTo>
                    <a:lnTo>
                      <a:pt x="1662257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6AF3095D-49EB-804A-4BD2-5E8B22F0298C}"/>
                  </a:ext>
                </a:extLst>
              </p:cNvPr>
              <p:cNvSpPr/>
              <p:nvPr/>
            </p:nvSpPr>
            <p:spPr>
              <a:xfrm>
                <a:off x="1977451" y="4339656"/>
                <a:ext cx="318178" cy="910642"/>
              </a:xfrm>
              <a:custGeom>
                <a:avLst/>
                <a:gdLst>
                  <a:gd name="connsiteX0" fmla="*/ 0 w 318178"/>
                  <a:gd name="connsiteY0" fmla="*/ 910643 h 910642"/>
                  <a:gd name="connsiteX1" fmla="*/ 0 w 318178"/>
                  <a:gd name="connsiteY1" fmla="*/ 0 h 910642"/>
                  <a:gd name="connsiteX2" fmla="*/ 318179 w 318178"/>
                  <a:gd name="connsiteY2" fmla="*/ 0 h 910642"/>
                  <a:gd name="connsiteX3" fmla="*/ 318179 w 318178"/>
                  <a:gd name="connsiteY3" fmla="*/ 910643 h 910642"/>
                  <a:gd name="connsiteX4" fmla="*/ 0 w 318178"/>
                  <a:gd name="connsiteY4" fmla="*/ 910643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78" h="910642">
                    <a:moveTo>
                      <a:pt x="0" y="910643"/>
                    </a:moveTo>
                    <a:lnTo>
                      <a:pt x="0" y="0"/>
                    </a:lnTo>
                    <a:lnTo>
                      <a:pt x="318179" y="0"/>
                    </a:lnTo>
                    <a:lnTo>
                      <a:pt x="318179" y="910643"/>
                    </a:lnTo>
                    <a:lnTo>
                      <a:pt x="0" y="910643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16112BBF-521F-F9C5-C06C-F7CE358C6A92}"/>
                  </a:ext>
                </a:extLst>
              </p:cNvPr>
              <p:cNvSpPr/>
              <p:nvPr/>
            </p:nvSpPr>
            <p:spPr>
              <a:xfrm>
                <a:off x="2414471" y="4309653"/>
                <a:ext cx="1104492" cy="970554"/>
              </a:xfrm>
              <a:custGeom>
                <a:avLst/>
                <a:gdLst>
                  <a:gd name="connsiteX0" fmla="*/ 1104302 w 1104492"/>
                  <a:gd name="connsiteY0" fmla="*/ 646593 h 970554"/>
                  <a:gd name="connsiteX1" fmla="*/ 590591 w 1104492"/>
                  <a:gd name="connsiteY1" fmla="*/ 970555 h 970554"/>
                  <a:gd name="connsiteX2" fmla="*/ 0 w 1104492"/>
                  <a:gd name="connsiteY2" fmla="*/ 797560 h 970554"/>
                  <a:gd name="connsiteX3" fmla="*/ 157757 w 1104492"/>
                  <a:gd name="connsiteY3" fmla="*/ 615450 h 970554"/>
                  <a:gd name="connsiteX4" fmla="*/ 595824 w 1104492"/>
                  <a:gd name="connsiteY4" fmla="*/ 746763 h 970554"/>
                  <a:gd name="connsiteX5" fmla="*/ 790119 w 1104492"/>
                  <a:gd name="connsiteY5" fmla="*/ 679065 h 970554"/>
                  <a:gd name="connsiteX6" fmla="*/ 568516 w 1104492"/>
                  <a:gd name="connsiteY6" fmla="*/ 604911 h 970554"/>
                  <a:gd name="connsiteX7" fmla="*/ 39201 w 1104492"/>
                  <a:gd name="connsiteY7" fmla="*/ 308295 h 970554"/>
                  <a:gd name="connsiteX8" fmla="*/ 552912 w 1104492"/>
                  <a:gd name="connsiteY8" fmla="*/ 0 h 970554"/>
                  <a:gd name="connsiteX9" fmla="*/ 1065291 w 1104492"/>
                  <a:gd name="connsiteY9" fmla="*/ 131313 h 970554"/>
                  <a:gd name="connsiteX10" fmla="*/ 914098 w 1104492"/>
                  <a:gd name="connsiteY10" fmla="*/ 316081 h 970554"/>
                  <a:gd name="connsiteX11" fmla="*/ 553007 w 1104492"/>
                  <a:gd name="connsiteY11" fmla="*/ 221038 h 970554"/>
                  <a:gd name="connsiteX12" fmla="*/ 353574 w 1104492"/>
                  <a:gd name="connsiteY12" fmla="*/ 282279 h 970554"/>
                  <a:gd name="connsiteX13" fmla="*/ 582979 w 1104492"/>
                  <a:gd name="connsiteY13" fmla="*/ 347318 h 970554"/>
                  <a:gd name="connsiteX14" fmla="*/ 1104492 w 1104492"/>
                  <a:gd name="connsiteY14" fmla="*/ 64649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492" h="970554">
                    <a:moveTo>
                      <a:pt x="1104302" y="646593"/>
                    </a:moveTo>
                    <a:cubicBezTo>
                      <a:pt x="1104302" y="843135"/>
                      <a:pt x="928276" y="970555"/>
                      <a:pt x="590591" y="970555"/>
                    </a:cubicBezTo>
                    <a:cubicBezTo>
                      <a:pt x="353384" y="970555"/>
                      <a:pt x="147386" y="908174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763"/>
                      <a:pt x="595824" y="746763"/>
                    </a:cubicBezTo>
                    <a:cubicBezTo>
                      <a:pt x="726274" y="746763"/>
                      <a:pt x="790119" y="724640"/>
                      <a:pt x="790119" y="679065"/>
                    </a:cubicBezTo>
                    <a:cubicBezTo>
                      <a:pt x="790119" y="633491"/>
                      <a:pt x="737977" y="619343"/>
                      <a:pt x="568516" y="604911"/>
                    </a:cubicBezTo>
                    <a:cubicBezTo>
                      <a:pt x="288302" y="580225"/>
                      <a:pt x="39201" y="516420"/>
                      <a:pt x="39201" y="308295"/>
                    </a:cubicBezTo>
                    <a:cubicBezTo>
                      <a:pt x="39201" y="100170"/>
                      <a:pt x="256903" y="0"/>
                      <a:pt x="552912" y="0"/>
                    </a:cubicBezTo>
                    <a:cubicBezTo>
                      <a:pt x="744542" y="0"/>
                      <a:pt x="933604" y="44151"/>
                      <a:pt x="1065291" y="131313"/>
                    </a:cubicBezTo>
                    <a:lnTo>
                      <a:pt x="914098" y="316081"/>
                    </a:lnTo>
                    <a:cubicBezTo>
                      <a:pt x="811052" y="248383"/>
                      <a:pt x="689832" y="221038"/>
                      <a:pt x="553007" y="221038"/>
                    </a:cubicBezTo>
                    <a:cubicBezTo>
                      <a:pt x="460427" y="221038"/>
                      <a:pt x="353574" y="232812"/>
                      <a:pt x="353574" y="282279"/>
                    </a:cubicBezTo>
                    <a:cubicBezTo>
                      <a:pt x="353574" y="326430"/>
                      <a:pt x="435688" y="335545"/>
                      <a:pt x="582979" y="347318"/>
                    </a:cubicBezTo>
                    <a:cubicBezTo>
                      <a:pt x="888028" y="372005"/>
                      <a:pt x="1104492" y="430588"/>
                      <a:pt x="1104492" y="64649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9CEE7A33-9286-FFA9-AC30-117527430257}"/>
                  </a:ext>
                </a:extLst>
              </p:cNvPr>
              <p:cNvSpPr/>
              <p:nvPr/>
            </p:nvSpPr>
            <p:spPr>
              <a:xfrm>
                <a:off x="3652362" y="4339656"/>
                <a:ext cx="1002587" cy="910642"/>
              </a:xfrm>
              <a:custGeom>
                <a:avLst/>
                <a:gdLst>
                  <a:gd name="connsiteX0" fmla="*/ 1002492 w 1002587"/>
                  <a:gd name="connsiteY0" fmla="*/ 681629 h 910642"/>
                  <a:gd name="connsiteX1" fmla="*/ 1002492 w 1002587"/>
                  <a:gd name="connsiteY1" fmla="*/ 910643 h 910642"/>
                  <a:gd name="connsiteX2" fmla="*/ 0 w 1002587"/>
                  <a:gd name="connsiteY2" fmla="*/ 910643 h 910642"/>
                  <a:gd name="connsiteX3" fmla="*/ 0 w 1002587"/>
                  <a:gd name="connsiteY3" fmla="*/ 0 h 910642"/>
                  <a:gd name="connsiteX4" fmla="*/ 988220 w 1002587"/>
                  <a:gd name="connsiteY4" fmla="*/ 0 h 910642"/>
                  <a:gd name="connsiteX5" fmla="*/ 988220 w 1002587"/>
                  <a:gd name="connsiteY5" fmla="*/ 229014 h 910642"/>
                  <a:gd name="connsiteX6" fmla="*/ 311614 w 1002587"/>
                  <a:gd name="connsiteY6" fmla="*/ 229014 h 910642"/>
                  <a:gd name="connsiteX7" fmla="*/ 311614 w 1002587"/>
                  <a:gd name="connsiteY7" fmla="*/ 344755 h 910642"/>
                  <a:gd name="connsiteX8" fmla="*/ 863098 w 1002587"/>
                  <a:gd name="connsiteY8" fmla="*/ 344755 h 910642"/>
                  <a:gd name="connsiteX9" fmla="*/ 863098 w 1002587"/>
                  <a:gd name="connsiteY9" fmla="*/ 555444 h 910642"/>
                  <a:gd name="connsiteX10" fmla="*/ 311614 w 1002587"/>
                  <a:gd name="connsiteY10" fmla="*/ 555444 h 910642"/>
                  <a:gd name="connsiteX11" fmla="*/ 311614 w 1002587"/>
                  <a:gd name="connsiteY11" fmla="*/ 681629 h 910642"/>
                  <a:gd name="connsiteX12" fmla="*/ 1002587 w 1002587"/>
                  <a:gd name="connsiteY12" fmla="*/ 681629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2587" h="910642">
                    <a:moveTo>
                      <a:pt x="1002492" y="681629"/>
                    </a:moveTo>
                    <a:lnTo>
                      <a:pt x="1002492" y="910643"/>
                    </a:lnTo>
                    <a:lnTo>
                      <a:pt x="0" y="910643"/>
                    </a:lnTo>
                    <a:lnTo>
                      <a:pt x="0" y="0"/>
                    </a:lnTo>
                    <a:lnTo>
                      <a:pt x="988220" y="0"/>
                    </a:lnTo>
                    <a:lnTo>
                      <a:pt x="988220" y="229014"/>
                    </a:lnTo>
                    <a:lnTo>
                      <a:pt x="311614" y="229014"/>
                    </a:lnTo>
                    <a:lnTo>
                      <a:pt x="311614" y="344755"/>
                    </a:lnTo>
                    <a:lnTo>
                      <a:pt x="863098" y="344755"/>
                    </a:lnTo>
                    <a:lnTo>
                      <a:pt x="863098" y="555444"/>
                    </a:lnTo>
                    <a:lnTo>
                      <a:pt x="311614" y="555444"/>
                    </a:lnTo>
                    <a:lnTo>
                      <a:pt x="311614" y="681629"/>
                    </a:lnTo>
                    <a:lnTo>
                      <a:pt x="1002587" y="681629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sp>
        <p:nvSpPr>
          <p:cNvPr id="23" name="Vrije vorm 22">
            <a:extLst>
              <a:ext uri="{FF2B5EF4-FFF2-40B4-BE49-F238E27FC236}">
                <a16:creationId xmlns:a16="http://schemas.microsoft.com/office/drawing/2014/main" id="{6FC2BFBA-3EFB-AE5D-0FE8-25EF84DD7C1D}"/>
              </a:ext>
            </a:extLst>
          </p:cNvPr>
          <p:cNvSpPr/>
          <p:nvPr userDrawn="1"/>
        </p:nvSpPr>
        <p:spPr>
          <a:xfrm>
            <a:off x="-12573" y="553868"/>
            <a:ext cx="9691449" cy="587441"/>
          </a:xfrm>
          <a:custGeom>
            <a:avLst/>
            <a:gdLst>
              <a:gd name="connsiteX0" fmla="*/ 0 w 9691449"/>
              <a:gd name="connsiteY0" fmla="*/ 0 h 587441"/>
              <a:gd name="connsiteX1" fmla="*/ 250309 w 9691449"/>
              <a:gd name="connsiteY1" fmla="*/ 0 h 587441"/>
              <a:gd name="connsiteX2" fmla="*/ 5460873 w 9691449"/>
              <a:gd name="connsiteY2" fmla="*/ 0 h 587441"/>
              <a:gd name="connsiteX3" fmla="*/ 9441140 w 9691449"/>
              <a:gd name="connsiteY3" fmla="*/ 0 h 587441"/>
              <a:gd name="connsiteX4" fmla="*/ 9691449 w 9691449"/>
              <a:gd name="connsiteY4" fmla="*/ 0 h 587441"/>
              <a:gd name="connsiteX5" fmla="*/ 9691449 w 9691449"/>
              <a:gd name="connsiteY5" fmla="*/ 250309 h 587441"/>
              <a:gd name="connsiteX6" fmla="*/ 9691449 w 9691449"/>
              <a:gd name="connsiteY6" fmla="*/ 293723 h 587441"/>
              <a:gd name="connsiteX7" fmla="*/ 9691449 w 9691449"/>
              <a:gd name="connsiteY7" fmla="*/ 337132 h 587441"/>
              <a:gd name="connsiteX8" fmla="*/ 9441140 w 9691449"/>
              <a:gd name="connsiteY8" fmla="*/ 587441 h 587441"/>
              <a:gd name="connsiteX9" fmla="*/ 5460873 w 9691449"/>
              <a:gd name="connsiteY9" fmla="*/ 587441 h 587441"/>
              <a:gd name="connsiteX10" fmla="*/ 250309 w 9691449"/>
              <a:gd name="connsiteY10" fmla="*/ 587441 h 587441"/>
              <a:gd name="connsiteX11" fmla="*/ 0 w 9691449"/>
              <a:gd name="connsiteY11" fmla="*/ 587441 h 587441"/>
              <a:gd name="connsiteX12" fmla="*/ 0 w 9691449"/>
              <a:gd name="connsiteY12" fmla="*/ 337132 h 587441"/>
              <a:gd name="connsiteX13" fmla="*/ 0 w 9691449"/>
              <a:gd name="connsiteY13" fmla="*/ 293723 h 587441"/>
              <a:gd name="connsiteX14" fmla="*/ 0 w 9691449"/>
              <a:gd name="connsiteY14" fmla="*/ 250309 h 587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91449" h="587441">
                <a:moveTo>
                  <a:pt x="0" y="0"/>
                </a:moveTo>
                <a:lnTo>
                  <a:pt x="250309" y="0"/>
                </a:lnTo>
                <a:lnTo>
                  <a:pt x="5460873" y="0"/>
                </a:lnTo>
                <a:lnTo>
                  <a:pt x="9441140" y="0"/>
                </a:lnTo>
                <a:lnTo>
                  <a:pt x="9691449" y="0"/>
                </a:lnTo>
                <a:lnTo>
                  <a:pt x="9691449" y="250309"/>
                </a:lnTo>
                <a:lnTo>
                  <a:pt x="9691449" y="293723"/>
                </a:lnTo>
                <a:lnTo>
                  <a:pt x="9691449" y="337132"/>
                </a:lnTo>
                <a:cubicBezTo>
                  <a:pt x="9691449" y="475374"/>
                  <a:pt x="9579382" y="587441"/>
                  <a:pt x="9441140" y="587441"/>
                </a:cubicBezTo>
                <a:lnTo>
                  <a:pt x="5460873" y="587441"/>
                </a:lnTo>
                <a:lnTo>
                  <a:pt x="250309" y="587441"/>
                </a:lnTo>
                <a:lnTo>
                  <a:pt x="0" y="587441"/>
                </a:lnTo>
                <a:lnTo>
                  <a:pt x="0" y="337132"/>
                </a:lnTo>
                <a:lnTo>
                  <a:pt x="0" y="293723"/>
                </a:lnTo>
                <a:lnTo>
                  <a:pt x="0" y="250309"/>
                </a:lnTo>
                <a:close/>
              </a:path>
            </a:pathLst>
          </a:cu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2C0264-FD71-4E12-4079-1CF611EE7D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2573" y="560684"/>
            <a:ext cx="9027435" cy="587441"/>
          </a:xfrm>
        </p:spPr>
        <p:txBody>
          <a:bodyPr lIns="720000" anchor="ctr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7486237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C617854-5076-434E-A091-65F0E830D5C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90632" y="583661"/>
            <a:ext cx="4139383" cy="4135559"/>
          </a:xfrm>
          <a:custGeom>
            <a:avLst/>
            <a:gdLst>
              <a:gd name="connsiteX0" fmla="*/ 4137683 w 8276611"/>
              <a:gd name="connsiteY0" fmla="*/ 0 h 8271117"/>
              <a:gd name="connsiteX1" fmla="*/ 8276611 w 8276611"/>
              <a:gd name="connsiteY1" fmla="*/ 4136181 h 8271117"/>
              <a:gd name="connsiteX2" fmla="*/ 4137683 w 8276611"/>
              <a:gd name="connsiteY2" fmla="*/ 8271117 h 8271117"/>
              <a:gd name="connsiteX3" fmla="*/ 0 w 8276611"/>
              <a:gd name="connsiteY3" fmla="*/ 4136181 h 8271117"/>
              <a:gd name="connsiteX4" fmla="*/ 4137683 w 8276611"/>
              <a:gd name="connsiteY4" fmla="*/ 0 h 827111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8276611" h="8271117">
                <a:moveTo>
                  <a:pt x="4137683" y="0"/>
                </a:moveTo>
                <a:cubicBezTo>
                  <a:pt x="6423936" y="0"/>
                  <a:pt x="8276611" y="1852003"/>
                  <a:pt x="8276611" y="4136181"/>
                </a:cubicBezTo>
                <a:cubicBezTo>
                  <a:pt x="8276611" y="6419114"/>
                  <a:pt x="6423936" y="8271117"/>
                  <a:pt x="4137683" y="8271117"/>
                </a:cubicBezTo>
                <a:cubicBezTo>
                  <a:pt x="1853921" y="8271117"/>
                  <a:pt x="0" y="6419114"/>
                  <a:pt x="0" y="4136181"/>
                </a:cubicBezTo>
                <a:cubicBezTo>
                  <a:pt x="0" y="1852003"/>
                  <a:pt x="1853921" y="0"/>
                  <a:pt x="4137683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908128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8EC1338C-EA27-D847-9083-90F3291D0C4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88183" y="3076214"/>
            <a:ext cx="3335936" cy="3335066"/>
          </a:xfrm>
          <a:custGeom>
            <a:avLst/>
            <a:gdLst>
              <a:gd name="connsiteX0" fmla="*/ 3335067 w 6670134"/>
              <a:gd name="connsiteY0" fmla="*/ 0 h 6670132"/>
              <a:gd name="connsiteX1" fmla="*/ 6670134 w 6670134"/>
              <a:gd name="connsiteY1" fmla="*/ 3334444 h 6670132"/>
              <a:gd name="connsiteX2" fmla="*/ 3335067 w 6670134"/>
              <a:gd name="connsiteY2" fmla="*/ 6670132 h 6670132"/>
              <a:gd name="connsiteX3" fmla="*/ 0 w 6670134"/>
              <a:gd name="connsiteY3" fmla="*/ 3334444 h 6670132"/>
              <a:gd name="connsiteX4" fmla="*/ 3335067 w 6670134"/>
              <a:gd name="connsiteY4" fmla="*/ 0 h 66701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670134" h="6670132">
                <a:moveTo>
                  <a:pt x="3335067" y="0"/>
                </a:moveTo>
                <a:cubicBezTo>
                  <a:pt x="5177508" y="0"/>
                  <a:pt x="6670134" y="1492904"/>
                  <a:pt x="6670134" y="3334444"/>
                </a:cubicBezTo>
                <a:cubicBezTo>
                  <a:pt x="6670134" y="5175982"/>
                  <a:pt x="5177508" y="6670132"/>
                  <a:pt x="3335067" y="6670132"/>
                </a:cubicBezTo>
                <a:cubicBezTo>
                  <a:pt x="1492626" y="6670132"/>
                  <a:pt x="0" y="5175982"/>
                  <a:pt x="0" y="3334444"/>
                </a:cubicBezTo>
                <a:cubicBezTo>
                  <a:pt x="0" y="1492904"/>
                  <a:pt x="1492626" y="0"/>
                  <a:pt x="3335067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2991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BA9FA68-9B58-9143-AD6C-76EC42859DF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22" y="1340"/>
            <a:ext cx="5122977" cy="6854699"/>
          </a:xfrm>
          <a:custGeom>
            <a:avLst/>
            <a:gdLst>
              <a:gd name="connsiteX0" fmla="*/ 0 w 10243285"/>
              <a:gd name="connsiteY0" fmla="*/ 0 h 13709397"/>
              <a:gd name="connsiteX1" fmla="*/ 6172124 w 10243285"/>
              <a:gd name="connsiteY1" fmla="*/ 0 h 13709397"/>
              <a:gd name="connsiteX2" fmla="*/ 10243285 w 10243285"/>
              <a:gd name="connsiteY2" fmla="*/ 6855322 h 13709397"/>
              <a:gd name="connsiteX3" fmla="*/ 6172124 w 10243285"/>
              <a:gd name="connsiteY3" fmla="*/ 13709397 h 13709397"/>
              <a:gd name="connsiteX4" fmla="*/ 0 w 10243285"/>
              <a:gd name="connsiteY4" fmla="*/ 13709397 h 137093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243285" h="13709397">
                <a:moveTo>
                  <a:pt x="0" y="0"/>
                </a:moveTo>
                <a:lnTo>
                  <a:pt x="6172124" y="0"/>
                </a:lnTo>
                <a:cubicBezTo>
                  <a:pt x="8610586" y="1397469"/>
                  <a:pt x="10243285" y="3944550"/>
                  <a:pt x="10243285" y="6855322"/>
                </a:cubicBezTo>
                <a:cubicBezTo>
                  <a:pt x="10243285" y="9764847"/>
                  <a:pt x="8610586" y="12311928"/>
                  <a:pt x="6172124" y="13709397"/>
                </a:cubicBezTo>
                <a:lnTo>
                  <a:pt x="0" y="13709397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731128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0E86B93-0BBD-2441-BC47-EB9075AAB1A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77894" y="693464"/>
            <a:ext cx="3035074" cy="3031539"/>
          </a:xfrm>
          <a:custGeom>
            <a:avLst/>
            <a:gdLst>
              <a:gd name="connsiteX0" fmla="*/ 3034284 w 6068568"/>
              <a:gd name="connsiteY0" fmla="*/ 0 h 6063078"/>
              <a:gd name="connsiteX1" fmla="*/ 6068568 w 6068568"/>
              <a:gd name="connsiteY1" fmla="*/ 3031539 h 6063078"/>
              <a:gd name="connsiteX2" fmla="*/ 3034284 w 6068568"/>
              <a:gd name="connsiteY2" fmla="*/ 6063078 h 6063078"/>
              <a:gd name="connsiteX3" fmla="*/ 0 w 6068568"/>
              <a:gd name="connsiteY3" fmla="*/ 3031539 h 6063078"/>
              <a:gd name="connsiteX4" fmla="*/ 3034284 w 6068568"/>
              <a:gd name="connsiteY4" fmla="*/ 0 h 606307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68568" h="6063078">
                <a:moveTo>
                  <a:pt x="3034284" y="0"/>
                </a:moveTo>
                <a:cubicBezTo>
                  <a:pt x="4710306" y="0"/>
                  <a:pt x="6068568" y="1356346"/>
                  <a:pt x="6068568" y="3031539"/>
                </a:cubicBezTo>
                <a:cubicBezTo>
                  <a:pt x="6068568" y="4706732"/>
                  <a:pt x="4710306" y="6063078"/>
                  <a:pt x="3034284" y="6063078"/>
                </a:cubicBezTo>
                <a:cubicBezTo>
                  <a:pt x="1358263" y="6063078"/>
                  <a:pt x="0" y="4706732"/>
                  <a:pt x="0" y="3031539"/>
                </a:cubicBezTo>
                <a:cubicBezTo>
                  <a:pt x="0" y="1356346"/>
                  <a:pt x="1358263" y="0"/>
                  <a:pt x="3034284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72932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1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33E9BAA-0A58-ED4A-9103-2C25190F8C8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13710" y="633096"/>
            <a:ext cx="4241028" cy="4704078"/>
          </a:xfrm>
          <a:custGeom>
            <a:avLst/>
            <a:gdLst>
              <a:gd name="connsiteX0" fmla="*/ 0 w 8479847"/>
              <a:gd name="connsiteY0" fmla="*/ 0 h 9408155"/>
              <a:gd name="connsiteX1" fmla="*/ 8479847 w 8479847"/>
              <a:gd name="connsiteY1" fmla="*/ 0 h 9408155"/>
              <a:gd name="connsiteX2" fmla="*/ 8479847 w 8479847"/>
              <a:gd name="connsiteY2" fmla="*/ 9408155 h 9408155"/>
              <a:gd name="connsiteX3" fmla="*/ 0 w 8479847"/>
              <a:gd name="connsiteY3" fmla="*/ 9408155 h 94081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479847" h="9408155">
                <a:moveTo>
                  <a:pt x="0" y="0"/>
                </a:moveTo>
                <a:lnTo>
                  <a:pt x="8479847" y="0"/>
                </a:lnTo>
                <a:lnTo>
                  <a:pt x="8479847" y="9408155"/>
                </a:lnTo>
                <a:lnTo>
                  <a:pt x="0" y="9408155"/>
                </a:lnTo>
                <a:close/>
              </a:path>
            </a:pathLst>
          </a:custGeom>
          <a:noFill/>
          <a:ln>
            <a:noFill/>
          </a:ln>
          <a:effectLst/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261883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yer Persona 2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631654B-326E-4544-A5B9-9A38A4CD88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33939" y="981849"/>
            <a:ext cx="3658698" cy="3657746"/>
          </a:xfrm>
          <a:custGeom>
            <a:avLst/>
            <a:gdLst>
              <a:gd name="connsiteX0" fmla="*/ 3657123 w 7315491"/>
              <a:gd name="connsiteY0" fmla="*/ 0 h 7315492"/>
              <a:gd name="connsiteX1" fmla="*/ 7315491 w 7315491"/>
              <a:gd name="connsiteY1" fmla="*/ 3658369 h 7315492"/>
              <a:gd name="connsiteX2" fmla="*/ 3657123 w 7315491"/>
              <a:gd name="connsiteY2" fmla="*/ 7315492 h 7315492"/>
              <a:gd name="connsiteX3" fmla="*/ 0 w 7315491"/>
              <a:gd name="connsiteY3" fmla="*/ 3658369 h 7315492"/>
              <a:gd name="connsiteX4" fmla="*/ 3657123 w 7315491"/>
              <a:gd name="connsiteY4" fmla="*/ 0 h 731549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15491" h="7315492">
                <a:moveTo>
                  <a:pt x="3657123" y="0"/>
                </a:moveTo>
                <a:cubicBezTo>
                  <a:pt x="5677509" y="0"/>
                  <a:pt x="7315491" y="1637983"/>
                  <a:pt x="7315491" y="3658369"/>
                </a:cubicBezTo>
                <a:cubicBezTo>
                  <a:pt x="7315491" y="5677509"/>
                  <a:pt x="5677509" y="7315492"/>
                  <a:pt x="3657123" y="7315492"/>
                </a:cubicBezTo>
                <a:cubicBezTo>
                  <a:pt x="1637983" y="7315492"/>
                  <a:pt x="0" y="5677509"/>
                  <a:pt x="0" y="3658369"/>
                </a:cubicBezTo>
                <a:cubicBezTo>
                  <a:pt x="0" y="1637983"/>
                  <a:pt x="1637983" y="0"/>
                  <a:pt x="3657123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cap="flat">
                <a:solidFill>
                  <a:srgbClr val="808080"/>
                </a:solidFill>
                <a:bevel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b="0" i="0">
                <a:latin typeface="Poppins" pitchFamily="2" charset="77"/>
                <a:ea typeface="+mn-ea"/>
                <a:cs typeface="Poppins" pitchFamily="2" charset="77"/>
              </a:defRPr>
            </a:lvl1pPr>
          </a:lstStyle>
          <a:p>
            <a:pPr marL="0"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904976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enda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DE861B-88DF-C641-BED1-D0F66D7DD9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58450" y="381000"/>
            <a:ext cx="2272939" cy="24384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E8EEB6-71BE-1340-84B1-2343A67790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158450" y="3048000"/>
            <a:ext cx="2272939" cy="3429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80826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end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E8EEB6-71BE-1340-84B1-2343A67790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158450" y="381000"/>
            <a:ext cx="2272939" cy="3429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DE861B-88DF-C641-BED1-D0F66D7DD9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58450" y="4038600"/>
            <a:ext cx="2272939" cy="24384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107088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enda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DE861B-88DF-C641-BED1-D0F66D7DD9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58450" y="381000"/>
            <a:ext cx="2272939" cy="16764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E8EEB6-71BE-1340-84B1-2343A67790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158450" y="2286000"/>
            <a:ext cx="2272939" cy="16764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58450" y="4191000"/>
            <a:ext cx="2272939" cy="2286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49074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alenda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58450" y="381000"/>
            <a:ext cx="2272939" cy="2286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4" name="Picture Placeholder 2">
            <a:extLst>
              <a:ext uri="{FF2B5EF4-FFF2-40B4-BE49-F238E27FC236}">
                <a16:creationId xmlns:a16="http://schemas.microsoft.com/office/drawing/2014/main" id="{A2E8EEB6-71BE-1340-84B1-2343A677904B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158450" y="2895600"/>
            <a:ext cx="2272939" cy="16764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ADE861B-88DF-C641-BED1-D0F66D7DD94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58450" y="4800600"/>
            <a:ext cx="2272939" cy="16764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3456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Afbeelding 2" descr="Afbeelding met waas, Kleurrijkheid, Magenta, paars&#10;&#10;Door AI gegenereerde inhoud is mogelijk onjuist.">
            <a:extLst>
              <a:ext uri="{FF2B5EF4-FFF2-40B4-BE49-F238E27FC236}">
                <a16:creationId xmlns:a16="http://schemas.microsoft.com/office/drawing/2014/main" id="{A7BBEC8A-0666-2DC3-ED7B-30F735511FF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2573" y="893852"/>
            <a:ext cx="12204573" cy="5984934"/>
          </a:xfrm>
          <a:prstGeom prst="rect">
            <a:avLst/>
          </a:prstGeom>
        </p:spPr>
      </p:pic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8FAA57A-E921-A31D-66C5-46AAEEE92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8B0773E-DA12-E832-02A6-62C0A2C6E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18EFBC-DF31-3021-C0A7-425E41A6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70757AAC-28A0-1896-19E8-105A91E114E1}"/>
              </a:ext>
            </a:extLst>
          </p:cNvPr>
          <p:cNvSpPr/>
          <p:nvPr userDrawn="1"/>
        </p:nvSpPr>
        <p:spPr>
          <a:xfrm>
            <a:off x="0" y="1"/>
            <a:ext cx="12192000" cy="895453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D62E622-DCA2-FC17-741F-ED0A963BCBE4}"/>
              </a:ext>
            </a:extLst>
          </p:cNvPr>
          <p:cNvSpPr/>
          <p:nvPr userDrawn="1"/>
        </p:nvSpPr>
        <p:spPr>
          <a:xfrm>
            <a:off x="-12572" y="6546793"/>
            <a:ext cx="12204569" cy="316458"/>
          </a:xfrm>
          <a:prstGeom prst="rect">
            <a:avLst/>
          </a:pr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95B1C276-C89A-D80F-11C5-03D45DB73117}"/>
              </a:ext>
            </a:extLst>
          </p:cNvPr>
          <p:cNvGrpSpPr/>
          <p:nvPr userDrawn="1"/>
        </p:nvGrpSpPr>
        <p:grpSpPr>
          <a:xfrm>
            <a:off x="10349008" y="304800"/>
            <a:ext cx="1283457" cy="427536"/>
            <a:chOff x="216620" y="3284504"/>
            <a:chExt cx="5991069" cy="1995703"/>
          </a:xfrm>
          <a:solidFill>
            <a:srgbClr val="AA8FC2"/>
          </a:solidFill>
        </p:grpSpPr>
        <p:grpSp>
          <p:nvGrpSpPr>
            <p:cNvPr id="12" name="Graphic 2">
              <a:extLst>
                <a:ext uri="{FF2B5EF4-FFF2-40B4-BE49-F238E27FC236}">
                  <a16:creationId xmlns:a16="http://schemas.microsoft.com/office/drawing/2014/main" id="{EB7CA6FA-3157-E50B-7AB3-4B1446714383}"/>
                </a:ext>
              </a:extLst>
            </p:cNvPr>
            <p:cNvGrpSpPr/>
            <p:nvPr/>
          </p:nvGrpSpPr>
          <p:grpSpPr>
            <a:xfrm>
              <a:off x="477994" y="3284504"/>
              <a:ext cx="5729695" cy="970554"/>
              <a:chOff x="477994" y="3284504"/>
              <a:chExt cx="5729695" cy="970554"/>
            </a:xfrm>
            <a:grpFill/>
          </p:grpSpPr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D1FB865B-395D-4AB3-F3AB-0168FD68EFD9}"/>
                  </a:ext>
                </a:extLst>
              </p:cNvPr>
              <p:cNvSpPr/>
              <p:nvPr/>
            </p:nvSpPr>
            <p:spPr>
              <a:xfrm>
                <a:off x="477994" y="3284504"/>
                <a:ext cx="1104206" cy="970554"/>
              </a:xfrm>
              <a:custGeom>
                <a:avLst/>
                <a:gdLst>
                  <a:gd name="connsiteX0" fmla="*/ 1104207 w 1104206"/>
                  <a:gd name="connsiteY0" fmla="*/ 646593 h 970554"/>
                  <a:gd name="connsiteX1" fmla="*/ 590591 w 1104206"/>
                  <a:gd name="connsiteY1" fmla="*/ 970555 h 970554"/>
                  <a:gd name="connsiteX2" fmla="*/ 0 w 1104206"/>
                  <a:gd name="connsiteY2" fmla="*/ 797560 h 970554"/>
                  <a:gd name="connsiteX3" fmla="*/ 157757 w 1104206"/>
                  <a:gd name="connsiteY3" fmla="*/ 615450 h 970554"/>
                  <a:gd name="connsiteX4" fmla="*/ 595824 w 1104206"/>
                  <a:gd name="connsiteY4" fmla="*/ 746858 h 970554"/>
                  <a:gd name="connsiteX5" fmla="*/ 790119 w 1104206"/>
                  <a:gd name="connsiteY5" fmla="*/ 679255 h 970554"/>
                  <a:gd name="connsiteX6" fmla="*/ 568517 w 1104206"/>
                  <a:gd name="connsiteY6" fmla="*/ 605101 h 970554"/>
                  <a:gd name="connsiteX7" fmla="*/ 39201 w 1104206"/>
                  <a:gd name="connsiteY7" fmla="*/ 308485 h 970554"/>
                  <a:gd name="connsiteX8" fmla="*/ 552722 w 1104206"/>
                  <a:gd name="connsiteY8" fmla="*/ 0 h 970554"/>
                  <a:gd name="connsiteX9" fmla="*/ 1065100 w 1104206"/>
                  <a:gd name="connsiteY9" fmla="*/ 131408 h 970554"/>
                  <a:gd name="connsiteX10" fmla="*/ 913813 w 1104206"/>
                  <a:gd name="connsiteY10" fmla="*/ 316176 h 970554"/>
                  <a:gd name="connsiteX11" fmla="*/ 552722 w 1104206"/>
                  <a:gd name="connsiteY11" fmla="*/ 221228 h 970554"/>
                  <a:gd name="connsiteX12" fmla="*/ 353289 w 1104206"/>
                  <a:gd name="connsiteY12" fmla="*/ 282374 h 970554"/>
                  <a:gd name="connsiteX13" fmla="*/ 582789 w 1104206"/>
                  <a:gd name="connsiteY13" fmla="*/ 347508 h 970554"/>
                  <a:gd name="connsiteX14" fmla="*/ 1104207 w 1104206"/>
                  <a:gd name="connsiteY14" fmla="*/ 64668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206" h="970554">
                    <a:moveTo>
                      <a:pt x="1104207" y="646593"/>
                    </a:moveTo>
                    <a:cubicBezTo>
                      <a:pt x="1104207" y="843040"/>
                      <a:pt x="928181" y="970555"/>
                      <a:pt x="590591" y="970555"/>
                    </a:cubicBezTo>
                    <a:cubicBezTo>
                      <a:pt x="353194" y="970555"/>
                      <a:pt x="147291" y="908079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858"/>
                      <a:pt x="595824" y="746858"/>
                    </a:cubicBezTo>
                    <a:cubicBezTo>
                      <a:pt x="726179" y="746858"/>
                      <a:pt x="790119" y="724735"/>
                      <a:pt x="790119" y="679255"/>
                    </a:cubicBezTo>
                    <a:cubicBezTo>
                      <a:pt x="790119" y="633775"/>
                      <a:pt x="737882" y="619438"/>
                      <a:pt x="568517" y="605101"/>
                    </a:cubicBezTo>
                    <a:cubicBezTo>
                      <a:pt x="288207" y="580320"/>
                      <a:pt x="39201" y="516610"/>
                      <a:pt x="39201" y="308485"/>
                    </a:cubicBezTo>
                    <a:cubicBezTo>
                      <a:pt x="39201" y="100360"/>
                      <a:pt x="256808" y="0"/>
                      <a:pt x="552722" y="0"/>
                    </a:cubicBezTo>
                    <a:cubicBezTo>
                      <a:pt x="744447" y="0"/>
                      <a:pt x="933509" y="44246"/>
                      <a:pt x="1065100" y="131408"/>
                    </a:cubicBezTo>
                    <a:lnTo>
                      <a:pt x="913813" y="316176"/>
                    </a:lnTo>
                    <a:cubicBezTo>
                      <a:pt x="810862" y="248573"/>
                      <a:pt x="689641" y="221228"/>
                      <a:pt x="552722" y="221228"/>
                    </a:cubicBezTo>
                    <a:cubicBezTo>
                      <a:pt x="460142" y="221228"/>
                      <a:pt x="353289" y="232907"/>
                      <a:pt x="353289" y="282374"/>
                    </a:cubicBezTo>
                    <a:cubicBezTo>
                      <a:pt x="353289" y="326620"/>
                      <a:pt x="435498" y="335735"/>
                      <a:pt x="582789" y="347508"/>
                    </a:cubicBezTo>
                    <a:cubicBezTo>
                      <a:pt x="887837" y="372195"/>
                      <a:pt x="1104207" y="430777"/>
                      <a:pt x="1104207" y="64668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1C322801-9480-7065-1B3D-0B2A7C7EEF1E}"/>
                  </a:ext>
                </a:extLst>
              </p:cNvPr>
              <p:cNvSpPr/>
              <p:nvPr/>
            </p:nvSpPr>
            <p:spPr>
              <a:xfrm>
                <a:off x="1618167" y="3314412"/>
                <a:ext cx="1039029" cy="910642"/>
              </a:xfrm>
              <a:custGeom>
                <a:avLst/>
                <a:gdLst>
                  <a:gd name="connsiteX0" fmla="*/ 1038934 w 1039029"/>
                  <a:gd name="connsiteY0" fmla="*/ 240692 h 910642"/>
                  <a:gd name="connsiteX1" fmla="*/ 677843 w 1039029"/>
                  <a:gd name="connsiteY1" fmla="*/ 240692 h 910642"/>
                  <a:gd name="connsiteX2" fmla="*/ 677843 w 1039029"/>
                  <a:gd name="connsiteY2" fmla="*/ 910643 h 910642"/>
                  <a:gd name="connsiteX3" fmla="*/ 359854 w 1039029"/>
                  <a:gd name="connsiteY3" fmla="*/ 910643 h 910642"/>
                  <a:gd name="connsiteX4" fmla="*/ 359854 w 1039029"/>
                  <a:gd name="connsiteY4" fmla="*/ 240692 h 910642"/>
                  <a:gd name="connsiteX5" fmla="*/ 0 w 1039029"/>
                  <a:gd name="connsiteY5" fmla="*/ 240692 h 910642"/>
                  <a:gd name="connsiteX6" fmla="*/ 0 w 1039029"/>
                  <a:gd name="connsiteY6" fmla="*/ 0 h 910642"/>
                  <a:gd name="connsiteX7" fmla="*/ 1039029 w 1039029"/>
                  <a:gd name="connsiteY7" fmla="*/ 0 h 910642"/>
                  <a:gd name="connsiteX8" fmla="*/ 1039029 w 1039029"/>
                  <a:gd name="connsiteY8" fmla="*/ 240692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029" h="910642">
                    <a:moveTo>
                      <a:pt x="1038934" y="240692"/>
                    </a:moveTo>
                    <a:lnTo>
                      <a:pt x="677843" y="240692"/>
                    </a:lnTo>
                    <a:lnTo>
                      <a:pt x="677843" y="910643"/>
                    </a:lnTo>
                    <a:lnTo>
                      <a:pt x="359854" y="910643"/>
                    </a:lnTo>
                    <a:lnTo>
                      <a:pt x="359854" y="240692"/>
                    </a:lnTo>
                    <a:lnTo>
                      <a:pt x="0" y="240692"/>
                    </a:lnTo>
                    <a:lnTo>
                      <a:pt x="0" y="0"/>
                    </a:lnTo>
                    <a:lnTo>
                      <a:pt x="1039029" y="0"/>
                    </a:lnTo>
                    <a:lnTo>
                      <a:pt x="1039029" y="240692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4DCD4E40-4E4E-589F-0F18-1204C35210EC}"/>
                  </a:ext>
                </a:extLst>
              </p:cNvPr>
              <p:cNvSpPr/>
              <p:nvPr/>
            </p:nvSpPr>
            <p:spPr>
              <a:xfrm>
                <a:off x="2778893" y="3314412"/>
                <a:ext cx="1091171" cy="940646"/>
              </a:xfrm>
              <a:custGeom>
                <a:avLst/>
                <a:gdLst>
                  <a:gd name="connsiteX0" fmla="*/ 1091171 w 1091171"/>
                  <a:gd name="connsiteY0" fmla="*/ 0 h 940646"/>
                  <a:gd name="connsiteX1" fmla="*/ 1091171 w 1091171"/>
                  <a:gd name="connsiteY1" fmla="*/ 481384 h 940646"/>
                  <a:gd name="connsiteX2" fmla="*/ 546252 w 1091171"/>
                  <a:gd name="connsiteY2" fmla="*/ 940646 h 940646"/>
                  <a:gd name="connsiteX3" fmla="*/ 0 w 1091171"/>
                  <a:gd name="connsiteY3" fmla="*/ 481384 h 940646"/>
                  <a:gd name="connsiteX4" fmla="*/ 0 w 1091171"/>
                  <a:gd name="connsiteY4" fmla="*/ 0 h 940646"/>
                  <a:gd name="connsiteX5" fmla="*/ 317989 w 1091171"/>
                  <a:gd name="connsiteY5" fmla="*/ 0 h 940646"/>
                  <a:gd name="connsiteX6" fmla="*/ 317989 w 1091171"/>
                  <a:gd name="connsiteY6" fmla="*/ 456698 h 940646"/>
                  <a:gd name="connsiteX7" fmla="*/ 546252 w 1091171"/>
                  <a:gd name="connsiteY7" fmla="*/ 689510 h 940646"/>
                  <a:gd name="connsiteX8" fmla="*/ 773087 w 1091171"/>
                  <a:gd name="connsiteY8" fmla="*/ 456698 h 940646"/>
                  <a:gd name="connsiteX9" fmla="*/ 773087 w 1091171"/>
                  <a:gd name="connsiteY9" fmla="*/ 0 h 940646"/>
                  <a:gd name="connsiteX10" fmla="*/ 1091076 w 1091171"/>
                  <a:gd name="connsiteY10" fmla="*/ 0 h 94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171" h="940646">
                    <a:moveTo>
                      <a:pt x="1091171" y="0"/>
                    </a:moveTo>
                    <a:lnTo>
                      <a:pt x="1091171" y="481384"/>
                    </a:lnTo>
                    <a:cubicBezTo>
                      <a:pt x="1091171" y="762429"/>
                      <a:pt x="895640" y="940646"/>
                      <a:pt x="546252" y="940646"/>
                    </a:cubicBezTo>
                    <a:cubicBezTo>
                      <a:pt x="196864" y="940646"/>
                      <a:pt x="0" y="762429"/>
                      <a:pt x="0" y="481384"/>
                    </a:cubicBezTo>
                    <a:lnTo>
                      <a:pt x="0" y="0"/>
                    </a:lnTo>
                    <a:lnTo>
                      <a:pt x="317989" y="0"/>
                    </a:lnTo>
                    <a:lnTo>
                      <a:pt x="317989" y="456698"/>
                    </a:lnTo>
                    <a:cubicBezTo>
                      <a:pt x="317989" y="591998"/>
                      <a:pt x="388494" y="689510"/>
                      <a:pt x="546252" y="689510"/>
                    </a:cubicBezTo>
                    <a:cubicBezTo>
                      <a:pt x="704009" y="689510"/>
                      <a:pt x="773087" y="591903"/>
                      <a:pt x="773087" y="456698"/>
                    </a:cubicBezTo>
                    <a:lnTo>
                      <a:pt x="773087" y="0"/>
                    </a:lnTo>
                    <a:lnTo>
                      <a:pt x="1091076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3A0F9D93-9E6F-3F4D-C178-2EC2E1ED0152}"/>
                  </a:ext>
                </a:extLst>
              </p:cNvPr>
              <p:cNvSpPr/>
              <p:nvPr/>
            </p:nvSpPr>
            <p:spPr>
              <a:xfrm>
                <a:off x="4018116" y="3314412"/>
                <a:ext cx="1113340" cy="910737"/>
              </a:xfrm>
              <a:custGeom>
                <a:avLst/>
                <a:gdLst>
                  <a:gd name="connsiteX0" fmla="*/ 1113341 w 1113340"/>
                  <a:gd name="connsiteY0" fmla="*/ 455369 h 910737"/>
                  <a:gd name="connsiteX1" fmla="*/ 531979 w 1113340"/>
                  <a:gd name="connsiteY1" fmla="*/ 910738 h 910737"/>
                  <a:gd name="connsiteX2" fmla="*/ 0 w 1113340"/>
                  <a:gd name="connsiteY2" fmla="*/ 910738 h 910737"/>
                  <a:gd name="connsiteX3" fmla="*/ 0 w 1113340"/>
                  <a:gd name="connsiteY3" fmla="*/ 0 h 910737"/>
                  <a:gd name="connsiteX4" fmla="*/ 531979 w 1113340"/>
                  <a:gd name="connsiteY4" fmla="*/ 0 h 910737"/>
                  <a:gd name="connsiteX5" fmla="*/ 1113341 w 1113340"/>
                  <a:gd name="connsiteY5" fmla="*/ 455369 h 910737"/>
                  <a:gd name="connsiteX6" fmla="*/ 788692 w 1113340"/>
                  <a:gd name="connsiteY6" fmla="*/ 455369 h 910737"/>
                  <a:gd name="connsiteX7" fmla="*/ 505813 w 1113340"/>
                  <a:gd name="connsiteY7" fmla="*/ 242021 h 910737"/>
                  <a:gd name="connsiteX8" fmla="*/ 318179 w 1113340"/>
                  <a:gd name="connsiteY8" fmla="*/ 242021 h 910737"/>
                  <a:gd name="connsiteX9" fmla="*/ 318179 w 1113340"/>
                  <a:gd name="connsiteY9" fmla="*/ 668716 h 910737"/>
                  <a:gd name="connsiteX10" fmla="*/ 505813 w 1113340"/>
                  <a:gd name="connsiteY10" fmla="*/ 668716 h 910737"/>
                  <a:gd name="connsiteX11" fmla="*/ 788692 w 1113340"/>
                  <a:gd name="connsiteY11" fmla="*/ 455369 h 91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3340" h="910737">
                    <a:moveTo>
                      <a:pt x="1113341" y="455369"/>
                    </a:moveTo>
                    <a:cubicBezTo>
                      <a:pt x="1113341" y="742870"/>
                      <a:pt x="886505" y="910738"/>
                      <a:pt x="531979" y="910738"/>
                    </a:cubicBezTo>
                    <a:lnTo>
                      <a:pt x="0" y="910738"/>
                    </a:lnTo>
                    <a:lnTo>
                      <a:pt x="0" y="0"/>
                    </a:lnTo>
                    <a:lnTo>
                      <a:pt x="531979" y="0"/>
                    </a:lnTo>
                    <a:cubicBezTo>
                      <a:pt x="886505" y="0"/>
                      <a:pt x="1113341" y="166538"/>
                      <a:pt x="1113341" y="455369"/>
                    </a:cubicBezTo>
                    <a:close/>
                    <a:moveTo>
                      <a:pt x="788692" y="455369"/>
                    </a:moveTo>
                    <a:cubicBezTo>
                      <a:pt x="788692" y="317505"/>
                      <a:pt x="680507" y="242021"/>
                      <a:pt x="505813" y="242021"/>
                    </a:cubicBezTo>
                    <a:lnTo>
                      <a:pt x="318179" y="242021"/>
                    </a:lnTo>
                    <a:lnTo>
                      <a:pt x="318179" y="668716"/>
                    </a:lnTo>
                    <a:lnTo>
                      <a:pt x="505813" y="668716"/>
                    </a:lnTo>
                    <a:cubicBezTo>
                      <a:pt x="680507" y="668716"/>
                      <a:pt x="788692" y="593328"/>
                      <a:pt x="788692" y="455369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777510F1-4D03-66E7-F6EA-340A16CD0CF0}"/>
                  </a:ext>
                </a:extLst>
              </p:cNvPr>
              <p:cNvSpPr/>
              <p:nvPr/>
            </p:nvSpPr>
            <p:spPr>
              <a:xfrm>
                <a:off x="5052578" y="3314412"/>
                <a:ext cx="1155111" cy="910642"/>
              </a:xfrm>
              <a:custGeom>
                <a:avLst/>
                <a:gdLst>
                  <a:gd name="connsiteX0" fmla="*/ 350720 w 1155111"/>
                  <a:gd name="connsiteY0" fmla="*/ 0 h 910642"/>
                  <a:gd name="connsiteX1" fmla="*/ 578888 w 1155111"/>
                  <a:gd name="connsiteY1" fmla="*/ 361656 h 910642"/>
                  <a:gd name="connsiteX2" fmla="*/ 805723 w 1155111"/>
                  <a:gd name="connsiteY2" fmla="*/ 0 h 910642"/>
                  <a:gd name="connsiteX3" fmla="*/ 1155112 w 1155111"/>
                  <a:gd name="connsiteY3" fmla="*/ 0 h 910642"/>
                  <a:gd name="connsiteX4" fmla="*/ 736645 w 1155111"/>
                  <a:gd name="connsiteY4" fmla="*/ 607570 h 910642"/>
                  <a:gd name="connsiteX5" fmla="*/ 736645 w 1155111"/>
                  <a:gd name="connsiteY5" fmla="*/ 910643 h 910642"/>
                  <a:gd name="connsiteX6" fmla="*/ 418466 w 1155111"/>
                  <a:gd name="connsiteY6" fmla="*/ 910643 h 910642"/>
                  <a:gd name="connsiteX7" fmla="*/ 418466 w 1155111"/>
                  <a:gd name="connsiteY7" fmla="*/ 607570 h 910642"/>
                  <a:gd name="connsiteX8" fmla="*/ 0 w 1155111"/>
                  <a:gd name="connsiteY8" fmla="*/ 0 h 910642"/>
                  <a:gd name="connsiteX9" fmla="*/ 350720 w 1155111"/>
                  <a:gd name="connsiteY9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5111" h="910642">
                    <a:moveTo>
                      <a:pt x="350720" y="0"/>
                    </a:moveTo>
                    <a:lnTo>
                      <a:pt x="578888" y="361656"/>
                    </a:lnTo>
                    <a:lnTo>
                      <a:pt x="805723" y="0"/>
                    </a:lnTo>
                    <a:lnTo>
                      <a:pt x="1155112" y="0"/>
                    </a:lnTo>
                    <a:lnTo>
                      <a:pt x="736645" y="607570"/>
                    </a:lnTo>
                    <a:lnTo>
                      <a:pt x="736645" y="910643"/>
                    </a:lnTo>
                    <a:lnTo>
                      <a:pt x="418466" y="910643"/>
                    </a:lnTo>
                    <a:lnTo>
                      <a:pt x="418466" y="607570"/>
                    </a:lnTo>
                    <a:lnTo>
                      <a:pt x="0" y="0"/>
                    </a:lnTo>
                    <a:lnTo>
                      <a:pt x="350720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13" name="Graphic 2">
              <a:extLst>
                <a:ext uri="{FF2B5EF4-FFF2-40B4-BE49-F238E27FC236}">
                  <a16:creationId xmlns:a16="http://schemas.microsoft.com/office/drawing/2014/main" id="{C8E60236-23E2-3D5B-0C5D-EA3D475D359C}"/>
                </a:ext>
              </a:extLst>
            </p:cNvPr>
            <p:cNvGrpSpPr/>
            <p:nvPr/>
          </p:nvGrpSpPr>
          <p:grpSpPr>
            <a:xfrm>
              <a:off x="216620" y="4309653"/>
              <a:ext cx="4438329" cy="970554"/>
              <a:chOff x="216620" y="4309653"/>
              <a:chExt cx="4438329" cy="970554"/>
            </a:xfrm>
            <a:grpFill/>
          </p:grpSpPr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CD337F57-6131-AE17-407F-024B187DE94B}"/>
                  </a:ext>
                </a:extLst>
              </p:cNvPr>
              <p:cNvSpPr/>
              <p:nvPr/>
            </p:nvSpPr>
            <p:spPr>
              <a:xfrm>
                <a:off x="216620" y="4339656"/>
                <a:ext cx="1662256" cy="910642"/>
              </a:xfrm>
              <a:custGeom>
                <a:avLst/>
                <a:gdLst>
                  <a:gd name="connsiteX0" fmla="*/ 1662162 w 1662256"/>
                  <a:gd name="connsiteY0" fmla="*/ 0 h 910642"/>
                  <a:gd name="connsiteX1" fmla="*/ 1329710 w 1662256"/>
                  <a:gd name="connsiteY1" fmla="*/ 910643 h 910642"/>
                  <a:gd name="connsiteX2" fmla="*/ 1018192 w 1662256"/>
                  <a:gd name="connsiteY2" fmla="*/ 910643 h 910642"/>
                  <a:gd name="connsiteX3" fmla="*/ 831794 w 1662256"/>
                  <a:gd name="connsiteY3" fmla="*/ 326525 h 910642"/>
                  <a:gd name="connsiteX4" fmla="*/ 644065 w 1662256"/>
                  <a:gd name="connsiteY4" fmla="*/ 910643 h 910642"/>
                  <a:gd name="connsiteX5" fmla="*/ 332451 w 1662256"/>
                  <a:gd name="connsiteY5" fmla="*/ 910643 h 910642"/>
                  <a:gd name="connsiteX6" fmla="*/ 0 w 1662256"/>
                  <a:gd name="connsiteY6" fmla="*/ 0 h 910642"/>
                  <a:gd name="connsiteX7" fmla="*/ 319416 w 1662256"/>
                  <a:gd name="connsiteY7" fmla="*/ 0 h 910642"/>
                  <a:gd name="connsiteX8" fmla="*/ 496679 w 1662256"/>
                  <a:gd name="connsiteY8" fmla="*/ 582788 h 910642"/>
                  <a:gd name="connsiteX9" fmla="*/ 690974 w 1662256"/>
                  <a:gd name="connsiteY9" fmla="*/ 0 h 910642"/>
                  <a:gd name="connsiteX10" fmla="*/ 976516 w 1662256"/>
                  <a:gd name="connsiteY10" fmla="*/ 0 h 910642"/>
                  <a:gd name="connsiteX11" fmla="*/ 1170811 w 1662256"/>
                  <a:gd name="connsiteY11" fmla="*/ 582788 h 910642"/>
                  <a:gd name="connsiteX12" fmla="*/ 1348074 w 1662256"/>
                  <a:gd name="connsiteY12" fmla="*/ 0 h 910642"/>
                  <a:gd name="connsiteX13" fmla="*/ 1662257 w 1662256"/>
                  <a:gd name="connsiteY13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2256" h="910642">
                    <a:moveTo>
                      <a:pt x="1662162" y="0"/>
                    </a:moveTo>
                    <a:lnTo>
                      <a:pt x="1329710" y="910643"/>
                    </a:lnTo>
                    <a:lnTo>
                      <a:pt x="1018192" y="910643"/>
                    </a:lnTo>
                    <a:lnTo>
                      <a:pt x="831794" y="326525"/>
                    </a:lnTo>
                    <a:lnTo>
                      <a:pt x="644065" y="910643"/>
                    </a:lnTo>
                    <a:lnTo>
                      <a:pt x="332451" y="910643"/>
                    </a:lnTo>
                    <a:lnTo>
                      <a:pt x="0" y="0"/>
                    </a:lnTo>
                    <a:lnTo>
                      <a:pt x="319416" y="0"/>
                    </a:lnTo>
                    <a:lnTo>
                      <a:pt x="496679" y="582788"/>
                    </a:lnTo>
                    <a:lnTo>
                      <a:pt x="690974" y="0"/>
                    </a:lnTo>
                    <a:lnTo>
                      <a:pt x="976516" y="0"/>
                    </a:lnTo>
                    <a:lnTo>
                      <a:pt x="1170811" y="582788"/>
                    </a:lnTo>
                    <a:lnTo>
                      <a:pt x="1348074" y="0"/>
                    </a:lnTo>
                    <a:lnTo>
                      <a:pt x="1662257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6AF3095D-49EB-804A-4BD2-5E8B22F0298C}"/>
                  </a:ext>
                </a:extLst>
              </p:cNvPr>
              <p:cNvSpPr/>
              <p:nvPr/>
            </p:nvSpPr>
            <p:spPr>
              <a:xfrm>
                <a:off x="1977451" y="4339656"/>
                <a:ext cx="318178" cy="910642"/>
              </a:xfrm>
              <a:custGeom>
                <a:avLst/>
                <a:gdLst>
                  <a:gd name="connsiteX0" fmla="*/ 0 w 318178"/>
                  <a:gd name="connsiteY0" fmla="*/ 910643 h 910642"/>
                  <a:gd name="connsiteX1" fmla="*/ 0 w 318178"/>
                  <a:gd name="connsiteY1" fmla="*/ 0 h 910642"/>
                  <a:gd name="connsiteX2" fmla="*/ 318179 w 318178"/>
                  <a:gd name="connsiteY2" fmla="*/ 0 h 910642"/>
                  <a:gd name="connsiteX3" fmla="*/ 318179 w 318178"/>
                  <a:gd name="connsiteY3" fmla="*/ 910643 h 910642"/>
                  <a:gd name="connsiteX4" fmla="*/ 0 w 318178"/>
                  <a:gd name="connsiteY4" fmla="*/ 910643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78" h="910642">
                    <a:moveTo>
                      <a:pt x="0" y="910643"/>
                    </a:moveTo>
                    <a:lnTo>
                      <a:pt x="0" y="0"/>
                    </a:lnTo>
                    <a:lnTo>
                      <a:pt x="318179" y="0"/>
                    </a:lnTo>
                    <a:lnTo>
                      <a:pt x="318179" y="910643"/>
                    </a:lnTo>
                    <a:lnTo>
                      <a:pt x="0" y="910643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16112BBF-521F-F9C5-C06C-F7CE358C6A92}"/>
                  </a:ext>
                </a:extLst>
              </p:cNvPr>
              <p:cNvSpPr/>
              <p:nvPr/>
            </p:nvSpPr>
            <p:spPr>
              <a:xfrm>
                <a:off x="2414471" y="4309653"/>
                <a:ext cx="1104492" cy="970554"/>
              </a:xfrm>
              <a:custGeom>
                <a:avLst/>
                <a:gdLst>
                  <a:gd name="connsiteX0" fmla="*/ 1104302 w 1104492"/>
                  <a:gd name="connsiteY0" fmla="*/ 646593 h 970554"/>
                  <a:gd name="connsiteX1" fmla="*/ 590591 w 1104492"/>
                  <a:gd name="connsiteY1" fmla="*/ 970555 h 970554"/>
                  <a:gd name="connsiteX2" fmla="*/ 0 w 1104492"/>
                  <a:gd name="connsiteY2" fmla="*/ 797560 h 970554"/>
                  <a:gd name="connsiteX3" fmla="*/ 157757 w 1104492"/>
                  <a:gd name="connsiteY3" fmla="*/ 615450 h 970554"/>
                  <a:gd name="connsiteX4" fmla="*/ 595824 w 1104492"/>
                  <a:gd name="connsiteY4" fmla="*/ 746763 h 970554"/>
                  <a:gd name="connsiteX5" fmla="*/ 790119 w 1104492"/>
                  <a:gd name="connsiteY5" fmla="*/ 679065 h 970554"/>
                  <a:gd name="connsiteX6" fmla="*/ 568516 w 1104492"/>
                  <a:gd name="connsiteY6" fmla="*/ 604911 h 970554"/>
                  <a:gd name="connsiteX7" fmla="*/ 39201 w 1104492"/>
                  <a:gd name="connsiteY7" fmla="*/ 308295 h 970554"/>
                  <a:gd name="connsiteX8" fmla="*/ 552912 w 1104492"/>
                  <a:gd name="connsiteY8" fmla="*/ 0 h 970554"/>
                  <a:gd name="connsiteX9" fmla="*/ 1065291 w 1104492"/>
                  <a:gd name="connsiteY9" fmla="*/ 131313 h 970554"/>
                  <a:gd name="connsiteX10" fmla="*/ 914098 w 1104492"/>
                  <a:gd name="connsiteY10" fmla="*/ 316081 h 970554"/>
                  <a:gd name="connsiteX11" fmla="*/ 553007 w 1104492"/>
                  <a:gd name="connsiteY11" fmla="*/ 221038 h 970554"/>
                  <a:gd name="connsiteX12" fmla="*/ 353574 w 1104492"/>
                  <a:gd name="connsiteY12" fmla="*/ 282279 h 970554"/>
                  <a:gd name="connsiteX13" fmla="*/ 582979 w 1104492"/>
                  <a:gd name="connsiteY13" fmla="*/ 347318 h 970554"/>
                  <a:gd name="connsiteX14" fmla="*/ 1104492 w 1104492"/>
                  <a:gd name="connsiteY14" fmla="*/ 64649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492" h="970554">
                    <a:moveTo>
                      <a:pt x="1104302" y="646593"/>
                    </a:moveTo>
                    <a:cubicBezTo>
                      <a:pt x="1104302" y="843135"/>
                      <a:pt x="928276" y="970555"/>
                      <a:pt x="590591" y="970555"/>
                    </a:cubicBezTo>
                    <a:cubicBezTo>
                      <a:pt x="353384" y="970555"/>
                      <a:pt x="147386" y="908174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763"/>
                      <a:pt x="595824" y="746763"/>
                    </a:cubicBezTo>
                    <a:cubicBezTo>
                      <a:pt x="726274" y="746763"/>
                      <a:pt x="790119" y="724640"/>
                      <a:pt x="790119" y="679065"/>
                    </a:cubicBezTo>
                    <a:cubicBezTo>
                      <a:pt x="790119" y="633491"/>
                      <a:pt x="737977" y="619343"/>
                      <a:pt x="568516" y="604911"/>
                    </a:cubicBezTo>
                    <a:cubicBezTo>
                      <a:pt x="288302" y="580225"/>
                      <a:pt x="39201" y="516420"/>
                      <a:pt x="39201" y="308295"/>
                    </a:cubicBezTo>
                    <a:cubicBezTo>
                      <a:pt x="39201" y="100170"/>
                      <a:pt x="256903" y="0"/>
                      <a:pt x="552912" y="0"/>
                    </a:cubicBezTo>
                    <a:cubicBezTo>
                      <a:pt x="744542" y="0"/>
                      <a:pt x="933604" y="44151"/>
                      <a:pt x="1065291" y="131313"/>
                    </a:cubicBezTo>
                    <a:lnTo>
                      <a:pt x="914098" y="316081"/>
                    </a:lnTo>
                    <a:cubicBezTo>
                      <a:pt x="811052" y="248383"/>
                      <a:pt x="689832" y="221038"/>
                      <a:pt x="553007" y="221038"/>
                    </a:cubicBezTo>
                    <a:cubicBezTo>
                      <a:pt x="460427" y="221038"/>
                      <a:pt x="353574" y="232812"/>
                      <a:pt x="353574" y="282279"/>
                    </a:cubicBezTo>
                    <a:cubicBezTo>
                      <a:pt x="353574" y="326430"/>
                      <a:pt x="435688" y="335545"/>
                      <a:pt x="582979" y="347318"/>
                    </a:cubicBezTo>
                    <a:cubicBezTo>
                      <a:pt x="888028" y="372005"/>
                      <a:pt x="1104492" y="430588"/>
                      <a:pt x="1104492" y="64649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9CEE7A33-9286-FFA9-AC30-117527430257}"/>
                  </a:ext>
                </a:extLst>
              </p:cNvPr>
              <p:cNvSpPr/>
              <p:nvPr/>
            </p:nvSpPr>
            <p:spPr>
              <a:xfrm>
                <a:off x="3652362" y="4339656"/>
                <a:ext cx="1002587" cy="910642"/>
              </a:xfrm>
              <a:custGeom>
                <a:avLst/>
                <a:gdLst>
                  <a:gd name="connsiteX0" fmla="*/ 1002492 w 1002587"/>
                  <a:gd name="connsiteY0" fmla="*/ 681629 h 910642"/>
                  <a:gd name="connsiteX1" fmla="*/ 1002492 w 1002587"/>
                  <a:gd name="connsiteY1" fmla="*/ 910643 h 910642"/>
                  <a:gd name="connsiteX2" fmla="*/ 0 w 1002587"/>
                  <a:gd name="connsiteY2" fmla="*/ 910643 h 910642"/>
                  <a:gd name="connsiteX3" fmla="*/ 0 w 1002587"/>
                  <a:gd name="connsiteY3" fmla="*/ 0 h 910642"/>
                  <a:gd name="connsiteX4" fmla="*/ 988220 w 1002587"/>
                  <a:gd name="connsiteY4" fmla="*/ 0 h 910642"/>
                  <a:gd name="connsiteX5" fmla="*/ 988220 w 1002587"/>
                  <a:gd name="connsiteY5" fmla="*/ 229014 h 910642"/>
                  <a:gd name="connsiteX6" fmla="*/ 311614 w 1002587"/>
                  <a:gd name="connsiteY6" fmla="*/ 229014 h 910642"/>
                  <a:gd name="connsiteX7" fmla="*/ 311614 w 1002587"/>
                  <a:gd name="connsiteY7" fmla="*/ 344755 h 910642"/>
                  <a:gd name="connsiteX8" fmla="*/ 863098 w 1002587"/>
                  <a:gd name="connsiteY8" fmla="*/ 344755 h 910642"/>
                  <a:gd name="connsiteX9" fmla="*/ 863098 w 1002587"/>
                  <a:gd name="connsiteY9" fmla="*/ 555444 h 910642"/>
                  <a:gd name="connsiteX10" fmla="*/ 311614 w 1002587"/>
                  <a:gd name="connsiteY10" fmla="*/ 555444 h 910642"/>
                  <a:gd name="connsiteX11" fmla="*/ 311614 w 1002587"/>
                  <a:gd name="connsiteY11" fmla="*/ 681629 h 910642"/>
                  <a:gd name="connsiteX12" fmla="*/ 1002587 w 1002587"/>
                  <a:gd name="connsiteY12" fmla="*/ 681629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2587" h="910642">
                    <a:moveTo>
                      <a:pt x="1002492" y="681629"/>
                    </a:moveTo>
                    <a:lnTo>
                      <a:pt x="1002492" y="910643"/>
                    </a:lnTo>
                    <a:lnTo>
                      <a:pt x="0" y="910643"/>
                    </a:lnTo>
                    <a:lnTo>
                      <a:pt x="0" y="0"/>
                    </a:lnTo>
                    <a:lnTo>
                      <a:pt x="988220" y="0"/>
                    </a:lnTo>
                    <a:lnTo>
                      <a:pt x="988220" y="229014"/>
                    </a:lnTo>
                    <a:lnTo>
                      <a:pt x="311614" y="229014"/>
                    </a:lnTo>
                    <a:lnTo>
                      <a:pt x="311614" y="344755"/>
                    </a:lnTo>
                    <a:lnTo>
                      <a:pt x="863098" y="344755"/>
                    </a:lnTo>
                    <a:lnTo>
                      <a:pt x="863098" y="555444"/>
                    </a:lnTo>
                    <a:lnTo>
                      <a:pt x="311614" y="555444"/>
                    </a:lnTo>
                    <a:lnTo>
                      <a:pt x="311614" y="681629"/>
                    </a:lnTo>
                    <a:lnTo>
                      <a:pt x="1002587" y="681629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sp>
        <p:nvSpPr>
          <p:cNvPr id="23" name="Vrije vorm 22">
            <a:extLst>
              <a:ext uri="{FF2B5EF4-FFF2-40B4-BE49-F238E27FC236}">
                <a16:creationId xmlns:a16="http://schemas.microsoft.com/office/drawing/2014/main" id="{6FC2BFBA-3EFB-AE5D-0FE8-25EF84DD7C1D}"/>
              </a:ext>
            </a:extLst>
          </p:cNvPr>
          <p:cNvSpPr/>
          <p:nvPr userDrawn="1"/>
        </p:nvSpPr>
        <p:spPr>
          <a:xfrm>
            <a:off x="-12573" y="553868"/>
            <a:ext cx="9691449" cy="587441"/>
          </a:xfrm>
          <a:custGeom>
            <a:avLst/>
            <a:gdLst>
              <a:gd name="connsiteX0" fmla="*/ 0 w 9691449"/>
              <a:gd name="connsiteY0" fmla="*/ 0 h 587441"/>
              <a:gd name="connsiteX1" fmla="*/ 250309 w 9691449"/>
              <a:gd name="connsiteY1" fmla="*/ 0 h 587441"/>
              <a:gd name="connsiteX2" fmla="*/ 5460873 w 9691449"/>
              <a:gd name="connsiteY2" fmla="*/ 0 h 587441"/>
              <a:gd name="connsiteX3" fmla="*/ 9441140 w 9691449"/>
              <a:gd name="connsiteY3" fmla="*/ 0 h 587441"/>
              <a:gd name="connsiteX4" fmla="*/ 9691449 w 9691449"/>
              <a:gd name="connsiteY4" fmla="*/ 0 h 587441"/>
              <a:gd name="connsiteX5" fmla="*/ 9691449 w 9691449"/>
              <a:gd name="connsiteY5" fmla="*/ 250309 h 587441"/>
              <a:gd name="connsiteX6" fmla="*/ 9691449 w 9691449"/>
              <a:gd name="connsiteY6" fmla="*/ 293723 h 587441"/>
              <a:gd name="connsiteX7" fmla="*/ 9691449 w 9691449"/>
              <a:gd name="connsiteY7" fmla="*/ 337132 h 587441"/>
              <a:gd name="connsiteX8" fmla="*/ 9441140 w 9691449"/>
              <a:gd name="connsiteY8" fmla="*/ 587441 h 587441"/>
              <a:gd name="connsiteX9" fmla="*/ 5460873 w 9691449"/>
              <a:gd name="connsiteY9" fmla="*/ 587441 h 587441"/>
              <a:gd name="connsiteX10" fmla="*/ 250309 w 9691449"/>
              <a:gd name="connsiteY10" fmla="*/ 587441 h 587441"/>
              <a:gd name="connsiteX11" fmla="*/ 0 w 9691449"/>
              <a:gd name="connsiteY11" fmla="*/ 587441 h 587441"/>
              <a:gd name="connsiteX12" fmla="*/ 0 w 9691449"/>
              <a:gd name="connsiteY12" fmla="*/ 337132 h 587441"/>
              <a:gd name="connsiteX13" fmla="*/ 0 w 9691449"/>
              <a:gd name="connsiteY13" fmla="*/ 293723 h 587441"/>
              <a:gd name="connsiteX14" fmla="*/ 0 w 9691449"/>
              <a:gd name="connsiteY14" fmla="*/ 250309 h 587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91449" h="587441">
                <a:moveTo>
                  <a:pt x="0" y="0"/>
                </a:moveTo>
                <a:lnTo>
                  <a:pt x="250309" y="0"/>
                </a:lnTo>
                <a:lnTo>
                  <a:pt x="5460873" y="0"/>
                </a:lnTo>
                <a:lnTo>
                  <a:pt x="9441140" y="0"/>
                </a:lnTo>
                <a:lnTo>
                  <a:pt x="9691449" y="0"/>
                </a:lnTo>
                <a:lnTo>
                  <a:pt x="9691449" y="250309"/>
                </a:lnTo>
                <a:lnTo>
                  <a:pt x="9691449" y="293723"/>
                </a:lnTo>
                <a:lnTo>
                  <a:pt x="9691449" y="337132"/>
                </a:lnTo>
                <a:cubicBezTo>
                  <a:pt x="9691449" y="475374"/>
                  <a:pt x="9579382" y="587441"/>
                  <a:pt x="9441140" y="587441"/>
                </a:cubicBezTo>
                <a:lnTo>
                  <a:pt x="5460873" y="587441"/>
                </a:lnTo>
                <a:lnTo>
                  <a:pt x="250309" y="587441"/>
                </a:lnTo>
                <a:lnTo>
                  <a:pt x="0" y="587441"/>
                </a:lnTo>
                <a:lnTo>
                  <a:pt x="0" y="337132"/>
                </a:lnTo>
                <a:lnTo>
                  <a:pt x="0" y="293723"/>
                </a:lnTo>
                <a:lnTo>
                  <a:pt x="0" y="250309"/>
                </a:lnTo>
                <a:close/>
              </a:path>
            </a:pathLst>
          </a:cu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2C0264-FD71-4E12-4079-1CF611EE7D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2573" y="560684"/>
            <a:ext cx="9027435" cy="587441"/>
          </a:xfrm>
        </p:spPr>
        <p:txBody>
          <a:bodyPr lIns="720000" anchor="ctr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1697381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alendar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>
            <a:extLst>
              <a:ext uri="{FF2B5EF4-FFF2-40B4-BE49-F238E27FC236}">
                <a16:creationId xmlns:a16="http://schemas.microsoft.com/office/drawing/2014/main" id="{6E71F4EE-9B17-864E-9C80-5B2A9B2E152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208182" y="0"/>
            <a:ext cx="2983818" cy="6858000"/>
          </a:xfrm>
          <a:solidFill>
            <a:schemeClr val="bg1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579208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bout 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94561C4-9A67-A547-9BA9-FCB35D47188A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8417143" y="1878227"/>
            <a:ext cx="3774858" cy="4979773"/>
          </a:xfrm>
          <a:custGeom>
            <a:avLst/>
            <a:gdLst>
              <a:gd name="connsiteX0" fmla="*/ 6610866 w 7547750"/>
              <a:gd name="connsiteY0" fmla="*/ 0 h 9959546"/>
              <a:gd name="connsiteX1" fmla="*/ 7286788 w 7547750"/>
              <a:gd name="connsiteY1" fmla="*/ 34132 h 9959546"/>
              <a:gd name="connsiteX2" fmla="*/ 7547750 w 7547750"/>
              <a:gd name="connsiteY2" fmla="*/ 67292 h 9959546"/>
              <a:gd name="connsiteX3" fmla="*/ 7547750 w 7547750"/>
              <a:gd name="connsiteY3" fmla="*/ 9959546 h 9959546"/>
              <a:gd name="connsiteX4" fmla="*/ 911486 w 7547750"/>
              <a:gd name="connsiteY4" fmla="*/ 9959546 h 9959546"/>
              <a:gd name="connsiteX5" fmla="*/ 797896 w 7547750"/>
              <a:gd name="connsiteY5" fmla="*/ 9761996 h 9959546"/>
              <a:gd name="connsiteX6" fmla="*/ 0 w 7547750"/>
              <a:gd name="connsiteY6" fmla="*/ 6610865 h 9959546"/>
              <a:gd name="connsiteX7" fmla="*/ 6610866 w 7547750"/>
              <a:gd name="connsiteY7" fmla="*/ 0 h 99595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547750" h="9959546">
                <a:moveTo>
                  <a:pt x="6610866" y="0"/>
                </a:moveTo>
                <a:cubicBezTo>
                  <a:pt x="6839058" y="0"/>
                  <a:pt x="7064550" y="11562"/>
                  <a:pt x="7286788" y="34132"/>
                </a:cubicBezTo>
                <a:lnTo>
                  <a:pt x="7547750" y="67292"/>
                </a:lnTo>
                <a:lnTo>
                  <a:pt x="7547750" y="9959546"/>
                </a:lnTo>
                <a:lnTo>
                  <a:pt x="911486" y="9959546"/>
                </a:lnTo>
                <a:lnTo>
                  <a:pt x="797896" y="9761996"/>
                </a:lnTo>
                <a:cubicBezTo>
                  <a:pt x="289042" y="8825281"/>
                  <a:pt x="0" y="7751828"/>
                  <a:pt x="0" y="6610865"/>
                </a:cubicBezTo>
                <a:cubicBezTo>
                  <a:pt x="0" y="2959786"/>
                  <a:pt x="2959786" y="0"/>
                  <a:pt x="6610866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789455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ssage CE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A8AB4B1-06B1-A741-AB46-B9645373A7E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76547" y="2232801"/>
            <a:ext cx="3361803" cy="3359575"/>
          </a:xfrm>
          <a:prstGeom prst="ellipse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0921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ission &amp; Vis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BDC4C1-55FF-664E-9DF7-5135A5F7A058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0" y="1878228"/>
            <a:ext cx="5586709" cy="4979773"/>
          </a:xfrm>
          <a:custGeom>
            <a:avLst/>
            <a:gdLst>
              <a:gd name="connsiteX0" fmla="*/ 5399904 w 11170508"/>
              <a:gd name="connsiteY0" fmla="*/ 0 h 9959545"/>
              <a:gd name="connsiteX1" fmla="*/ 11170508 w 11170508"/>
              <a:gd name="connsiteY1" fmla="*/ 5770605 h 9959545"/>
              <a:gd name="connsiteX2" fmla="*/ 9480337 w 11170508"/>
              <a:gd name="connsiteY2" fmla="*/ 9851039 h 9959545"/>
              <a:gd name="connsiteX3" fmla="*/ 9366529 w 11170508"/>
              <a:gd name="connsiteY3" fmla="*/ 9959545 h 9959545"/>
              <a:gd name="connsiteX4" fmla="*/ 1433278 w 11170508"/>
              <a:gd name="connsiteY4" fmla="*/ 9959545 h 9959545"/>
              <a:gd name="connsiteX5" fmla="*/ 1319470 w 11170508"/>
              <a:gd name="connsiteY5" fmla="*/ 9851039 h 9959545"/>
              <a:gd name="connsiteX6" fmla="*/ 82781 w 11170508"/>
              <a:gd name="connsiteY6" fmla="*/ 8016785 h 9959545"/>
              <a:gd name="connsiteX7" fmla="*/ 0 w 11170508"/>
              <a:gd name="connsiteY7" fmla="*/ 7806835 h 9959545"/>
              <a:gd name="connsiteX8" fmla="*/ 0 w 11170508"/>
              <a:gd name="connsiteY8" fmla="*/ 3734376 h 9959545"/>
              <a:gd name="connsiteX9" fmla="*/ 82781 w 11170508"/>
              <a:gd name="connsiteY9" fmla="*/ 3524426 h 9959545"/>
              <a:gd name="connsiteX10" fmla="*/ 5399904 w 11170508"/>
              <a:gd name="connsiteY10" fmla="*/ 0 h 99595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170508" h="9959545">
                <a:moveTo>
                  <a:pt x="5399904" y="0"/>
                </a:moveTo>
                <a:cubicBezTo>
                  <a:pt x="8586920" y="0"/>
                  <a:pt x="11170508" y="2583588"/>
                  <a:pt x="11170508" y="5770605"/>
                </a:cubicBezTo>
                <a:cubicBezTo>
                  <a:pt x="11170508" y="7364113"/>
                  <a:pt x="10524611" y="8806765"/>
                  <a:pt x="9480337" y="9851039"/>
                </a:cubicBezTo>
                <a:lnTo>
                  <a:pt x="9366529" y="9959545"/>
                </a:lnTo>
                <a:lnTo>
                  <a:pt x="1433278" y="9959545"/>
                </a:lnTo>
                <a:lnTo>
                  <a:pt x="1319470" y="9851039"/>
                </a:lnTo>
                <a:cubicBezTo>
                  <a:pt x="797332" y="9328902"/>
                  <a:pt x="374790" y="8707170"/>
                  <a:pt x="82781" y="8016785"/>
                </a:cubicBezTo>
                <a:lnTo>
                  <a:pt x="0" y="7806835"/>
                </a:lnTo>
                <a:lnTo>
                  <a:pt x="0" y="3734376"/>
                </a:lnTo>
                <a:lnTo>
                  <a:pt x="82781" y="3524426"/>
                </a:lnTo>
                <a:cubicBezTo>
                  <a:pt x="958807" y="1453269"/>
                  <a:pt x="3009641" y="0"/>
                  <a:pt x="5399904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indent="0" algn="ctr">
              <a:buNone/>
              <a:defRPr sz="1100" b="1" i="0"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23155151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What We 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DD7EF42-AFF9-644A-BABF-EC024295CD1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62106" y="0"/>
            <a:ext cx="3429895" cy="6858000"/>
          </a:xfrm>
          <a:custGeom>
            <a:avLst/>
            <a:gdLst>
              <a:gd name="connsiteX0" fmla="*/ 6858000 w 6858004"/>
              <a:gd name="connsiteY0" fmla="*/ 0 h 13716000"/>
              <a:gd name="connsiteX1" fmla="*/ 6858004 w 6858004"/>
              <a:gd name="connsiteY1" fmla="*/ 0 h 13716000"/>
              <a:gd name="connsiteX2" fmla="*/ 6858004 w 6858004"/>
              <a:gd name="connsiteY2" fmla="*/ 13716000 h 13716000"/>
              <a:gd name="connsiteX3" fmla="*/ 6858000 w 6858004"/>
              <a:gd name="connsiteY3" fmla="*/ 13716000 h 13716000"/>
              <a:gd name="connsiteX4" fmla="*/ 0 w 6858004"/>
              <a:gd name="connsiteY4" fmla="*/ 6858000 h 13716000"/>
              <a:gd name="connsiteX5" fmla="*/ 6858000 w 6858004"/>
              <a:gd name="connsiteY5" fmla="*/ 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858004" h="13716000">
                <a:moveTo>
                  <a:pt x="6858000" y="0"/>
                </a:moveTo>
                <a:lnTo>
                  <a:pt x="6858004" y="0"/>
                </a:lnTo>
                <a:lnTo>
                  <a:pt x="6858004" y="13716000"/>
                </a:lnTo>
                <a:lnTo>
                  <a:pt x="6858000" y="13716000"/>
                </a:lnTo>
                <a:cubicBezTo>
                  <a:pt x="3070432" y="13716000"/>
                  <a:pt x="0" y="10645569"/>
                  <a:pt x="0" y="6858000"/>
                </a:cubicBezTo>
                <a:cubicBezTo>
                  <a:pt x="0" y="3070431"/>
                  <a:pt x="3070432" y="0"/>
                  <a:pt x="6858000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5D15EE4-0DC1-A24B-BA57-857519D4D2AB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1" y="0"/>
            <a:ext cx="3429893" cy="6858000"/>
          </a:xfrm>
          <a:custGeom>
            <a:avLst/>
            <a:gdLst>
              <a:gd name="connsiteX0" fmla="*/ 0 w 6858000"/>
              <a:gd name="connsiteY0" fmla="*/ 0 h 13716000"/>
              <a:gd name="connsiteX1" fmla="*/ 352911 w 6858000"/>
              <a:gd name="connsiteY1" fmla="*/ 8924 h 13716000"/>
              <a:gd name="connsiteX2" fmla="*/ 6858000 w 6858000"/>
              <a:gd name="connsiteY2" fmla="*/ 6858000 h 13716000"/>
              <a:gd name="connsiteX3" fmla="*/ 352911 w 6858000"/>
              <a:gd name="connsiteY3" fmla="*/ 13707076 h 13716000"/>
              <a:gd name="connsiteX4" fmla="*/ 0 w 6858000"/>
              <a:gd name="connsiteY4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858000" h="13716000">
                <a:moveTo>
                  <a:pt x="0" y="0"/>
                </a:moveTo>
                <a:lnTo>
                  <a:pt x="352911" y="8924"/>
                </a:lnTo>
                <a:cubicBezTo>
                  <a:pt x="3976472" y="192602"/>
                  <a:pt x="6858000" y="3188793"/>
                  <a:pt x="6858000" y="6858000"/>
                </a:cubicBezTo>
                <a:cubicBezTo>
                  <a:pt x="6858000" y="10527207"/>
                  <a:pt x="3976472" y="13523398"/>
                  <a:pt x="352911" y="13707076"/>
                </a:cubicBezTo>
                <a:lnTo>
                  <a:pt x="0" y="137160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475867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A6D03A8-38DA-1141-93A4-105CC5C37F93}"/>
              </a:ext>
            </a:extLst>
          </p:cNvPr>
          <p:cNvSpPr/>
          <p:nvPr userDrawn="1"/>
        </p:nvSpPr>
        <p:spPr>
          <a:xfrm>
            <a:off x="11109043" y="314325"/>
            <a:ext cx="404918" cy="395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 dirty="0">
              <a:latin typeface="Nunito Sans ExtraLight" pitchFamily="2" charset="77"/>
            </a:endParaRP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00F155D-B21A-D640-B438-FD8B341C41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436075" y="0"/>
            <a:ext cx="8755926" cy="6858000"/>
          </a:xfrm>
          <a:custGeom>
            <a:avLst/>
            <a:gdLst>
              <a:gd name="connsiteX0" fmla="*/ 5945591 w 17507291"/>
              <a:gd name="connsiteY0" fmla="*/ 0 h 13716000"/>
              <a:gd name="connsiteX1" fmla="*/ 12045845 w 17507291"/>
              <a:gd name="connsiteY1" fmla="*/ 0 h 13716000"/>
              <a:gd name="connsiteX2" fmla="*/ 12088749 w 17507291"/>
              <a:gd name="connsiteY2" fmla="*/ 14517 h 13716000"/>
              <a:gd name="connsiteX3" fmla="*/ 17445579 w 17507291"/>
              <a:gd name="connsiteY3" fmla="*/ 5371349 h 13716000"/>
              <a:gd name="connsiteX4" fmla="*/ 17507291 w 17507291"/>
              <a:gd name="connsiteY4" fmla="*/ 5553733 h 13716000"/>
              <a:gd name="connsiteX5" fmla="*/ 17507291 w 17507291"/>
              <a:gd name="connsiteY5" fmla="*/ 11375024 h 13716000"/>
              <a:gd name="connsiteX6" fmla="*/ 17445579 w 17507291"/>
              <a:gd name="connsiteY6" fmla="*/ 11557408 h 13716000"/>
              <a:gd name="connsiteX7" fmla="*/ 16455109 w 17507291"/>
              <a:gd name="connsiteY7" fmla="*/ 13493969 h 13716000"/>
              <a:gd name="connsiteX8" fmla="*/ 16297221 w 17507291"/>
              <a:gd name="connsiteY8" fmla="*/ 13716000 h 13716000"/>
              <a:gd name="connsiteX9" fmla="*/ 1694216 w 17507291"/>
              <a:gd name="connsiteY9" fmla="*/ 13716000 h 13716000"/>
              <a:gd name="connsiteX10" fmla="*/ 1536327 w 17507291"/>
              <a:gd name="connsiteY10" fmla="*/ 13493969 h 13716000"/>
              <a:gd name="connsiteX11" fmla="*/ 0 w 17507291"/>
              <a:gd name="connsiteY11" fmla="*/ 8464378 h 13716000"/>
              <a:gd name="connsiteX12" fmla="*/ 5902688 w 17507291"/>
              <a:gd name="connsiteY12" fmla="*/ 14517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7507291" h="13716000">
                <a:moveTo>
                  <a:pt x="5945591" y="0"/>
                </a:moveTo>
                <a:lnTo>
                  <a:pt x="12045845" y="0"/>
                </a:lnTo>
                <a:lnTo>
                  <a:pt x="12088749" y="14517"/>
                </a:lnTo>
                <a:cubicBezTo>
                  <a:pt x="14568777" y="922578"/>
                  <a:pt x="16537519" y="2891319"/>
                  <a:pt x="17445579" y="5371349"/>
                </a:cubicBezTo>
                <a:lnTo>
                  <a:pt x="17507291" y="5553733"/>
                </a:lnTo>
                <a:lnTo>
                  <a:pt x="17507291" y="11375024"/>
                </a:lnTo>
                <a:lnTo>
                  <a:pt x="17445579" y="11557408"/>
                </a:lnTo>
                <a:cubicBezTo>
                  <a:pt x="17193341" y="12246305"/>
                  <a:pt x="16859259" y="12895750"/>
                  <a:pt x="16455109" y="13493969"/>
                </a:cubicBezTo>
                <a:lnTo>
                  <a:pt x="16297221" y="13716000"/>
                </a:lnTo>
                <a:lnTo>
                  <a:pt x="1694216" y="13716000"/>
                </a:lnTo>
                <a:lnTo>
                  <a:pt x="1536327" y="13493969"/>
                </a:lnTo>
                <a:cubicBezTo>
                  <a:pt x="566370" y="12058244"/>
                  <a:pt x="0" y="10327452"/>
                  <a:pt x="0" y="8464378"/>
                </a:cubicBezTo>
                <a:cubicBezTo>
                  <a:pt x="0" y="4582974"/>
                  <a:pt x="2458203" y="1275713"/>
                  <a:pt x="5902688" y="14517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021621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6295B25-9368-0043-B691-DE6DF16778C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2399414" y="1309915"/>
            <a:ext cx="7534523" cy="423817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87402386"/>
      </p:ext>
    </p:extLst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CB583C2F-DB52-CC43-A895-235A728A9BBF}"/>
              </a:ext>
            </a:extLst>
          </p:cNvPr>
          <p:cNvSpPr>
            <a:spLocks noGrp="1" noChangeAspect="1"/>
          </p:cNvSpPr>
          <p:nvPr>
            <p:ph type="pic" sz="quarter" idx="26"/>
          </p:nvPr>
        </p:nvSpPr>
        <p:spPr>
          <a:xfrm>
            <a:off x="1114314" y="1954491"/>
            <a:ext cx="1655107" cy="165601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84B6A410-36EC-A34F-9421-4ECBFEFC0BCE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1114314" y="4561496"/>
            <a:ext cx="1655107" cy="165601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783C106-F760-3A43-99BC-3DD66D40C8F9}"/>
              </a:ext>
            </a:extLst>
          </p:cNvPr>
          <p:cNvSpPr>
            <a:spLocks noGrp="1" noChangeAspect="1"/>
          </p:cNvSpPr>
          <p:nvPr>
            <p:ph type="pic" sz="quarter" idx="28"/>
          </p:nvPr>
        </p:nvSpPr>
        <p:spPr>
          <a:xfrm>
            <a:off x="6653157" y="1954491"/>
            <a:ext cx="1655107" cy="165601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CEE006E-8ECF-D047-B494-AFF747C2306A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653157" y="4561496"/>
            <a:ext cx="1655107" cy="165601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0752672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E304C65F-6EFA-EC44-A33E-D32997B186DE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2727090" y="1571430"/>
            <a:ext cx="1413502" cy="1412392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B654735-8DBB-6E43-BD6E-1C806ABD8D4B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2727090" y="3318019"/>
            <a:ext cx="1413502" cy="1412392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D9701CFD-5F1C-C647-AA08-6F97112BDD07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727090" y="5064608"/>
            <a:ext cx="1413502" cy="1412392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591957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re Va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E4CD333-4BF8-EA4E-B7BF-D6560BAAA01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"/>
            <a:ext cx="4906910" cy="6858000"/>
          </a:xfrm>
          <a:custGeom>
            <a:avLst/>
            <a:gdLst>
              <a:gd name="connsiteX0" fmla="*/ 0 w 9811264"/>
              <a:gd name="connsiteY0" fmla="*/ 0 h 13715999"/>
              <a:gd name="connsiteX1" fmla="*/ 5851617 w 9811264"/>
              <a:gd name="connsiteY1" fmla="*/ 0 h 13715999"/>
              <a:gd name="connsiteX2" fmla="*/ 5997745 w 9811264"/>
              <a:gd name="connsiteY2" fmla="*/ 84022 h 13715999"/>
              <a:gd name="connsiteX3" fmla="*/ 9811264 w 9811264"/>
              <a:gd name="connsiteY3" fmla="*/ 6857999 h 13715999"/>
              <a:gd name="connsiteX4" fmla="*/ 5997745 w 9811264"/>
              <a:gd name="connsiteY4" fmla="*/ 13631976 h 13715999"/>
              <a:gd name="connsiteX5" fmla="*/ 5851615 w 9811264"/>
              <a:gd name="connsiteY5" fmla="*/ 13715999 h 13715999"/>
              <a:gd name="connsiteX6" fmla="*/ 0 w 9811264"/>
              <a:gd name="connsiteY6" fmla="*/ 13715999 h 13715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811264" h="13715999">
                <a:moveTo>
                  <a:pt x="0" y="0"/>
                </a:moveTo>
                <a:lnTo>
                  <a:pt x="5851617" y="0"/>
                </a:lnTo>
                <a:lnTo>
                  <a:pt x="5997745" y="84022"/>
                </a:lnTo>
                <a:cubicBezTo>
                  <a:pt x="8284039" y="1473208"/>
                  <a:pt x="9811264" y="3987253"/>
                  <a:pt x="9811264" y="6857999"/>
                </a:cubicBezTo>
                <a:cubicBezTo>
                  <a:pt x="9811264" y="9728746"/>
                  <a:pt x="8284039" y="12242790"/>
                  <a:pt x="5997745" y="13631976"/>
                </a:cubicBezTo>
                <a:lnTo>
                  <a:pt x="5851615" y="13715999"/>
                </a:lnTo>
                <a:lnTo>
                  <a:pt x="0" y="13715999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34064000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8FAA57A-E921-A31D-66C5-46AAEEE92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8B0773E-DA12-E832-02A6-62C0A2C6E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18EFBC-DF31-3021-C0A7-425E41A6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70757AAC-28A0-1896-19E8-105A91E114E1}"/>
              </a:ext>
            </a:extLst>
          </p:cNvPr>
          <p:cNvSpPr/>
          <p:nvPr userDrawn="1"/>
        </p:nvSpPr>
        <p:spPr>
          <a:xfrm>
            <a:off x="0" y="1"/>
            <a:ext cx="12192000" cy="895453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D62E622-DCA2-FC17-741F-ED0A963BCBE4}"/>
              </a:ext>
            </a:extLst>
          </p:cNvPr>
          <p:cNvSpPr/>
          <p:nvPr userDrawn="1"/>
        </p:nvSpPr>
        <p:spPr>
          <a:xfrm>
            <a:off x="-12572" y="6546793"/>
            <a:ext cx="12204569" cy="316458"/>
          </a:xfrm>
          <a:prstGeom prst="rect">
            <a:avLst/>
          </a:pr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95B1C276-C89A-D80F-11C5-03D45DB73117}"/>
              </a:ext>
            </a:extLst>
          </p:cNvPr>
          <p:cNvGrpSpPr/>
          <p:nvPr userDrawn="1"/>
        </p:nvGrpSpPr>
        <p:grpSpPr>
          <a:xfrm>
            <a:off x="10349008" y="304800"/>
            <a:ext cx="1283457" cy="427536"/>
            <a:chOff x="216620" y="3284504"/>
            <a:chExt cx="5991069" cy="1995703"/>
          </a:xfrm>
          <a:solidFill>
            <a:srgbClr val="AA8FC2"/>
          </a:solidFill>
        </p:grpSpPr>
        <p:grpSp>
          <p:nvGrpSpPr>
            <p:cNvPr id="12" name="Graphic 2">
              <a:extLst>
                <a:ext uri="{FF2B5EF4-FFF2-40B4-BE49-F238E27FC236}">
                  <a16:creationId xmlns:a16="http://schemas.microsoft.com/office/drawing/2014/main" id="{EB7CA6FA-3157-E50B-7AB3-4B1446714383}"/>
                </a:ext>
              </a:extLst>
            </p:cNvPr>
            <p:cNvGrpSpPr/>
            <p:nvPr/>
          </p:nvGrpSpPr>
          <p:grpSpPr>
            <a:xfrm>
              <a:off x="477994" y="3284504"/>
              <a:ext cx="5729695" cy="970554"/>
              <a:chOff x="477994" y="3284504"/>
              <a:chExt cx="5729695" cy="970554"/>
            </a:xfrm>
            <a:grpFill/>
          </p:grpSpPr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D1FB865B-395D-4AB3-F3AB-0168FD68EFD9}"/>
                  </a:ext>
                </a:extLst>
              </p:cNvPr>
              <p:cNvSpPr/>
              <p:nvPr/>
            </p:nvSpPr>
            <p:spPr>
              <a:xfrm>
                <a:off x="477994" y="3284504"/>
                <a:ext cx="1104206" cy="970554"/>
              </a:xfrm>
              <a:custGeom>
                <a:avLst/>
                <a:gdLst>
                  <a:gd name="connsiteX0" fmla="*/ 1104207 w 1104206"/>
                  <a:gd name="connsiteY0" fmla="*/ 646593 h 970554"/>
                  <a:gd name="connsiteX1" fmla="*/ 590591 w 1104206"/>
                  <a:gd name="connsiteY1" fmla="*/ 970555 h 970554"/>
                  <a:gd name="connsiteX2" fmla="*/ 0 w 1104206"/>
                  <a:gd name="connsiteY2" fmla="*/ 797560 h 970554"/>
                  <a:gd name="connsiteX3" fmla="*/ 157757 w 1104206"/>
                  <a:gd name="connsiteY3" fmla="*/ 615450 h 970554"/>
                  <a:gd name="connsiteX4" fmla="*/ 595824 w 1104206"/>
                  <a:gd name="connsiteY4" fmla="*/ 746858 h 970554"/>
                  <a:gd name="connsiteX5" fmla="*/ 790119 w 1104206"/>
                  <a:gd name="connsiteY5" fmla="*/ 679255 h 970554"/>
                  <a:gd name="connsiteX6" fmla="*/ 568517 w 1104206"/>
                  <a:gd name="connsiteY6" fmla="*/ 605101 h 970554"/>
                  <a:gd name="connsiteX7" fmla="*/ 39201 w 1104206"/>
                  <a:gd name="connsiteY7" fmla="*/ 308485 h 970554"/>
                  <a:gd name="connsiteX8" fmla="*/ 552722 w 1104206"/>
                  <a:gd name="connsiteY8" fmla="*/ 0 h 970554"/>
                  <a:gd name="connsiteX9" fmla="*/ 1065100 w 1104206"/>
                  <a:gd name="connsiteY9" fmla="*/ 131408 h 970554"/>
                  <a:gd name="connsiteX10" fmla="*/ 913813 w 1104206"/>
                  <a:gd name="connsiteY10" fmla="*/ 316176 h 970554"/>
                  <a:gd name="connsiteX11" fmla="*/ 552722 w 1104206"/>
                  <a:gd name="connsiteY11" fmla="*/ 221228 h 970554"/>
                  <a:gd name="connsiteX12" fmla="*/ 353289 w 1104206"/>
                  <a:gd name="connsiteY12" fmla="*/ 282374 h 970554"/>
                  <a:gd name="connsiteX13" fmla="*/ 582789 w 1104206"/>
                  <a:gd name="connsiteY13" fmla="*/ 347508 h 970554"/>
                  <a:gd name="connsiteX14" fmla="*/ 1104207 w 1104206"/>
                  <a:gd name="connsiteY14" fmla="*/ 64668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206" h="970554">
                    <a:moveTo>
                      <a:pt x="1104207" y="646593"/>
                    </a:moveTo>
                    <a:cubicBezTo>
                      <a:pt x="1104207" y="843040"/>
                      <a:pt x="928181" y="970555"/>
                      <a:pt x="590591" y="970555"/>
                    </a:cubicBezTo>
                    <a:cubicBezTo>
                      <a:pt x="353194" y="970555"/>
                      <a:pt x="147291" y="908079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858"/>
                      <a:pt x="595824" y="746858"/>
                    </a:cubicBezTo>
                    <a:cubicBezTo>
                      <a:pt x="726179" y="746858"/>
                      <a:pt x="790119" y="724735"/>
                      <a:pt x="790119" y="679255"/>
                    </a:cubicBezTo>
                    <a:cubicBezTo>
                      <a:pt x="790119" y="633775"/>
                      <a:pt x="737882" y="619438"/>
                      <a:pt x="568517" y="605101"/>
                    </a:cubicBezTo>
                    <a:cubicBezTo>
                      <a:pt x="288207" y="580320"/>
                      <a:pt x="39201" y="516610"/>
                      <a:pt x="39201" y="308485"/>
                    </a:cubicBezTo>
                    <a:cubicBezTo>
                      <a:pt x="39201" y="100360"/>
                      <a:pt x="256808" y="0"/>
                      <a:pt x="552722" y="0"/>
                    </a:cubicBezTo>
                    <a:cubicBezTo>
                      <a:pt x="744447" y="0"/>
                      <a:pt x="933509" y="44246"/>
                      <a:pt x="1065100" y="131408"/>
                    </a:cubicBezTo>
                    <a:lnTo>
                      <a:pt x="913813" y="316176"/>
                    </a:lnTo>
                    <a:cubicBezTo>
                      <a:pt x="810862" y="248573"/>
                      <a:pt x="689641" y="221228"/>
                      <a:pt x="552722" y="221228"/>
                    </a:cubicBezTo>
                    <a:cubicBezTo>
                      <a:pt x="460142" y="221228"/>
                      <a:pt x="353289" y="232907"/>
                      <a:pt x="353289" y="282374"/>
                    </a:cubicBezTo>
                    <a:cubicBezTo>
                      <a:pt x="353289" y="326620"/>
                      <a:pt x="435498" y="335735"/>
                      <a:pt x="582789" y="347508"/>
                    </a:cubicBezTo>
                    <a:cubicBezTo>
                      <a:pt x="887837" y="372195"/>
                      <a:pt x="1104207" y="430777"/>
                      <a:pt x="1104207" y="64668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1C322801-9480-7065-1B3D-0B2A7C7EEF1E}"/>
                  </a:ext>
                </a:extLst>
              </p:cNvPr>
              <p:cNvSpPr/>
              <p:nvPr/>
            </p:nvSpPr>
            <p:spPr>
              <a:xfrm>
                <a:off x="1618167" y="3314412"/>
                <a:ext cx="1039029" cy="910642"/>
              </a:xfrm>
              <a:custGeom>
                <a:avLst/>
                <a:gdLst>
                  <a:gd name="connsiteX0" fmla="*/ 1038934 w 1039029"/>
                  <a:gd name="connsiteY0" fmla="*/ 240692 h 910642"/>
                  <a:gd name="connsiteX1" fmla="*/ 677843 w 1039029"/>
                  <a:gd name="connsiteY1" fmla="*/ 240692 h 910642"/>
                  <a:gd name="connsiteX2" fmla="*/ 677843 w 1039029"/>
                  <a:gd name="connsiteY2" fmla="*/ 910643 h 910642"/>
                  <a:gd name="connsiteX3" fmla="*/ 359854 w 1039029"/>
                  <a:gd name="connsiteY3" fmla="*/ 910643 h 910642"/>
                  <a:gd name="connsiteX4" fmla="*/ 359854 w 1039029"/>
                  <a:gd name="connsiteY4" fmla="*/ 240692 h 910642"/>
                  <a:gd name="connsiteX5" fmla="*/ 0 w 1039029"/>
                  <a:gd name="connsiteY5" fmla="*/ 240692 h 910642"/>
                  <a:gd name="connsiteX6" fmla="*/ 0 w 1039029"/>
                  <a:gd name="connsiteY6" fmla="*/ 0 h 910642"/>
                  <a:gd name="connsiteX7" fmla="*/ 1039029 w 1039029"/>
                  <a:gd name="connsiteY7" fmla="*/ 0 h 910642"/>
                  <a:gd name="connsiteX8" fmla="*/ 1039029 w 1039029"/>
                  <a:gd name="connsiteY8" fmla="*/ 240692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029" h="910642">
                    <a:moveTo>
                      <a:pt x="1038934" y="240692"/>
                    </a:moveTo>
                    <a:lnTo>
                      <a:pt x="677843" y="240692"/>
                    </a:lnTo>
                    <a:lnTo>
                      <a:pt x="677843" y="910643"/>
                    </a:lnTo>
                    <a:lnTo>
                      <a:pt x="359854" y="910643"/>
                    </a:lnTo>
                    <a:lnTo>
                      <a:pt x="359854" y="240692"/>
                    </a:lnTo>
                    <a:lnTo>
                      <a:pt x="0" y="240692"/>
                    </a:lnTo>
                    <a:lnTo>
                      <a:pt x="0" y="0"/>
                    </a:lnTo>
                    <a:lnTo>
                      <a:pt x="1039029" y="0"/>
                    </a:lnTo>
                    <a:lnTo>
                      <a:pt x="1039029" y="240692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4DCD4E40-4E4E-589F-0F18-1204C35210EC}"/>
                  </a:ext>
                </a:extLst>
              </p:cNvPr>
              <p:cNvSpPr/>
              <p:nvPr/>
            </p:nvSpPr>
            <p:spPr>
              <a:xfrm>
                <a:off x="2778893" y="3314412"/>
                <a:ext cx="1091171" cy="940646"/>
              </a:xfrm>
              <a:custGeom>
                <a:avLst/>
                <a:gdLst>
                  <a:gd name="connsiteX0" fmla="*/ 1091171 w 1091171"/>
                  <a:gd name="connsiteY0" fmla="*/ 0 h 940646"/>
                  <a:gd name="connsiteX1" fmla="*/ 1091171 w 1091171"/>
                  <a:gd name="connsiteY1" fmla="*/ 481384 h 940646"/>
                  <a:gd name="connsiteX2" fmla="*/ 546252 w 1091171"/>
                  <a:gd name="connsiteY2" fmla="*/ 940646 h 940646"/>
                  <a:gd name="connsiteX3" fmla="*/ 0 w 1091171"/>
                  <a:gd name="connsiteY3" fmla="*/ 481384 h 940646"/>
                  <a:gd name="connsiteX4" fmla="*/ 0 w 1091171"/>
                  <a:gd name="connsiteY4" fmla="*/ 0 h 940646"/>
                  <a:gd name="connsiteX5" fmla="*/ 317989 w 1091171"/>
                  <a:gd name="connsiteY5" fmla="*/ 0 h 940646"/>
                  <a:gd name="connsiteX6" fmla="*/ 317989 w 1091171"/>
                  <a:gd name="connsiteY6" fmla="*/ 456698 h 940646"/>
                  <a:gd name="connsiteX7" fmla="*/ 546252 w 1091171"/>
                  <a:gd name="connsiteY7" fmla="*/ 689510 h 940646"/>
                  <a:gd name="connsiteX8" fmla="*/ 773087 w 1091171"/>
                  <a:gd name="connsiteY8" fmla="*/ 456698 h 940646"/>
                  <a:gd name="connsiteX9" fmla="*/ 773087 w 1091171"/>
                  <a:gd name="connsiteY9" fmla="*/ 0 h 940646"/>
                  <a:gd name="connsiteX10" fmla="*/ 1091076 w 1091171"/>
                  <a:gd name="connsiteY10" fmla="*/ 0 h 94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171" h="940646">
                    <a:moveTo>
                      <a:pt x="1091171" y="0"/>
                    </a:moveTo>
                    <a:lnTo>
                      <a:pt x="1091171" y="481384"/>
                    </a:lnTo>
                    <a:cubicBezTo>
                      <a:pt x="1091171" y="762429"/>
                      <a:pt x="895640" y="940646"/>
                      <a:pt x="546252" y="940646"/>
                    </a:cubicBezTo>
                    <a:cubicBezTo>
                      <a:pt x="196864" y="940646"/>
                      <a:pt x="0" y="762429"/>
                      <a:pt x="0" y="481384"/>
                    </a:cubicBezTo>
                    <a:lnTo>
                      <a:pt x="0" y="0"/>
                    </a:lnTo>
                    <a:lnTo>
                      <a:pt x="317989" y="0"/>
                    </a:lnTo>
                    <a:lnTo>
                      <a:pt x="317989" y="456698"/>
                    </a:lnTo>
                    <a:cubicBezTo>
                      <a:pt x="317989" y="591998"/>
                      <a:pt x="388494" y="689510"/>
                      <a:pt x="546252" y="689510"/>
                    </a:cubicBezTo>
                    <a:cubicBezTo>
                      <a:pt x="704009" y="689510"/>
                      <a:pt x="773087" y="591903"/>
                      <a:pt x="773087" y="456698"/>
                    </a:cubicBezTo>
                    <a:lnTo>
                      <a:pt x="773087" y="0"/>
                    </a:lnTo>
                    <a:lnTo>
                      <a:pt x="1091076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3A0F9D93-9E6F-3F4D-C178-2EC2E1ED0152}"/>
                  </a:ext>
                </a:extLst>
              </p:cNvPr>
              <p:cNvSpPr/>
              <p:nvPr/>
            </p:nvSpPr>
            <p:spPr>
              <a:xfrm>
                <a:off x="4018116" y="3314412"/>
                <a:ext cx="1113340" cy="910737"/>
              </a:xfrm>
              <a:custGeom>
                <a:avLst/>
                <a:gdLst>
                  <a:gd name="connsiteX0" fmla="*/ 1113341 w 1113340"/>
                  <a:gd name="connsiteY0" fmla="*/ 455369 h 910737"/>
                  <a:gd name="connsiteX1" fmla="*/ 531979 w 1113340"/>
                  <a:gd name="connsiteY1" fmla="*/ 910738 h 910737"/>
                  <a:gd name="connsiteX2" fmla="*/ 0 w 1113340"/>
                  <a:gd name="connsiteY2" fmla="*/ 910738 h 910737"/>
                  <a:gd name="connsiteX3" fmla="*/ 0 w 1113340"/>
                  <a:gd name="connsiteY3" fmla="*/ 0 h 910737"/>
                  <a:gd name="connsiteX4" fmla="*/ 531979 w 1113340"/>
                  <a:gd name="connsiteY4" fmla="*/ 0 h 910737"/>
                  <a:gd name="connsiteX5" fmla="*/ 1113341 w 1113340"/>
                  <a:gd name="connsiteY5" fmla="*/ 455369 h 910737"/>
                  <a:gd name="connsiteX6" fmla="*/ 788692 w 1113340"/>
                  <a:gd name="connsiteY6" fmla="*/ 455369 h 910737"/>
                  <a:gd name="connsiteX7" fmla="*/ 505813 w 1113340"/>
                  <a:gd name="connsiteY7" fmla="*/ 242021 h 910737"/>
                  <a:gd name="connsiteX8" fmla="*/ 318179 w 1113340"/>
                  <a:gd name="connsiteY8" fmla="*/ 242021 h 910737"/>
                  <a:gd name="connsiteX9" fmla="*/ 318179 w 1113340"/>
                  <a:gd name="connsiteY9" fmla="*/ 668716 h 910737"/>
                  <a:gd name="connsiteX10" fmla="*/ 505813 w 1113340"/>
                  <a:gd name="connsiteY10" fmla="*/ 668716 h 910737"/>
                  <a:gd name="connsiteX11" fmla="*/ 788692 w 1113340"/>
                  <a:gd name="connsiteY11" fmla="*/ 455369 h 91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3340" h="910737">
                    <a:moveTo>
                      <a:pt x="1113341" y="455369"/>
                    </a:moveTo>
                    <a:cubicBezTo>
                      <a:pt x="1113341" y="742870"/>
                      <a:pt x="886505" y="910738"/>
                      <a:pt x="531979" y="910738"/>
                    </a:cubicBezTo>
                    <a:lnTo>
                      <a:pt x="0" y="910738"/>
                    </a:lnTo>
                    <a:lnTo>
                      <a:pt x="0" y="0"/>
                    </a:lnTo>
                    <a:lnTo>
                      <a:pt x="531979" y="0"/>
                    </a:lnTo>
                    <a:cubicBezTo>
                      <a:pt x="886505" y="0"/>
                      <a:pt x="1113341" y="166538"/>
                      <a:pt x="1113341" y="455369"/>
                    </a:cubicBezTo>
                    <a:close/>
                    <a:moveTo>
                      <a:pt x="788692" y="455369"/>
                    </a:moveTo>
                    <a:cubicBezTo>
                      <a:pt x="788692" y="317505"/>
                      <a:pt x="680507" y="242021"/>
                      <a:pt x="505813" y="242021"/>
                    </a:cubicBezTo>
                    <a:lnTo>
                      <a:pt x="318179" y="242021"/>
                    </a:lnTo>
                    <a:lnTo>
                      <a:pt x="318179" y="668716"/>
                    </a:lnTo>
                    <a:lnTo>
                      <a:pt x="505813" y="668716"/>
                    </a:lnTo>
                    <a:cubicBezTo>
                      <a:pt x="680507" y="668716"/>
                      <a:pt x="788692" y="593328"/>
                      <a:pt x="788692" y="455369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777510F1-4D03-66E7-F6EA-340A16CD0CF0}"/>
                  </a:ext>
                </a:extLst>
              </p:cNvPr>
              <p:cNvSpPr/>
              <p:nvPr/>
            </p:nvSpPr>
            <p:spPr>
              <a:xfrm>
                <a:off x="5052578" y="3314412"/>
                <a:ext cx="1155111" cy="910642"/>
              </a:xfrm>
              <a:custGeom>
                <a:avLst/>
                <a:gdLst>
                  <a:gd name="connsiteX0" fmla="*/ 350720 w 1155111"/>
                  <a:gd name="connsiteY0" fmla="*/ 0 h 910642"/>
                  <a:gd name="connsiteX1" fmla="*/ 578888 w 1155111"/>
                  <a:gd name="connsiteY1" fmla="*/ 361656 h 910642"/>
                  <a:gd name="connsiteX2" fmla="*/ 805723 w 1155111"/>
                  <a:gd name="connsiteY2" fmla="*/ 0 h 910642"/>
                  <a:gd name="connsiteX3" fmla="*/ 1155112 w 1155111"/>
                  <a:gd name="connsiteY3" fmla="*/ 0 h 910642"/>
                  <a:gd name="connsiteX4" fmla="*/ 736645 w 1155111"/>
                  <a:gd name="connsiteY4" fmla="*/ 607570 h 910642"/>
                  <a:gd name="connsiteX5" fmla="*/ 736645 w 1155111"/>
                  <a:gd name="connsiteY5" fmla="*/ 910643 h 910642"/>
                  <a:gd name="connsiteX6" fmla="*/ 418466 w 1155111"/>
                  <a:gd name="connsiteY6" fmla="*/ 910643 h 910642"/>
                  <a:gd name="connsiteX7" fmla="*/ 418466 w 1155111"/>
                  <a:gd name="connsiteY7" fmla="*/ 607570 h 910642"/>
                  <a:gd name="connsiteX8" fmla="*/ 0 w 1155111"/>
                  <a:gd name="connsiteY8" fmla="*/ 0 h 910642"/>
                  <a:gd name="connsiteX9" fmla="*/ 350720 w 1155111"/>
                  <a:gd name="connsiteY9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5111" h="910642">
                    <a:moveTo>
                      <a:pt x="350720" y="0"/>
                    </a:moveTo>
                    <a:lnTo>
                      <a:pt x="578888" y="361656"/>
                    </a:lnTo>
                    <a:lnTo>
                      <a:pt x="805723" y="0"/>
                    </a:lnTo>
                    <a:lnTo>
                      <a:pt x="1155112" y="0"/>
                    </a:lnTo>
                    <a:lnTo>
                      <a:pt x="736645" y="607570"/>
                    </a:lnTo>
                    <a:lnTo>
                      <a:pt x="736645" y="910643"/>
                    </a:lnTo>
                    <a:lnTo>
                      <a:pt x="418466" y="910643"/>
                    </a:lnTo>
                    <a:lnTo>
                      <a:pt x="418466" y="607570"/>
                    </a:lnTo>
                    <a:lnTo>
                      <a:pt x="0" y="0"/>
                    </a:lnTo>
                    <a:lnTo>
                      <a:pt x="350720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13" name="Graphic 2">
              <a:extLst>
                <a:ext uri="{FF2B5EF4-FFF2-40B4-BE49-F238E27FC236}">
                  <a16:creationId xmlns:a16="http://schemas.microsoft.com/office/drawing/2014/main" id="{C8E60236-23E2-3D5B-0C5D-EA3D475D359C}"/>
                </a:ext>
              </a:extLst>
            </p:cNvPr>
            <p:cNvGrpSpPr/>
            <p:nvPr/>
          </p:nvGrpSpPr>
          <p:grpSpPr>
            <a:xfrm>
              <a:off x="216620" y="4309653"/>
              <a:ext cx="4438329" cy="970554"/>
              <a:chOff x="216620" y="4309653"/>
              <a:chExt cx="4438329" cy="970554"/>
            </a:xfrm>
            <a:grpFill/>
          </p:grpSpPr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CD337F57-6131-AE17-407F-024B187DE94B}"/>
                  </a:ext>
                </a:extLst>
              </p:cNvPr>
              <p:cNvSpPr/>
              <p:nvPr/>
            </p:nvSpPr>
            <p:spPr>
              <a:xfrm>
                <a:off x="216620" y="4339656"/>
                <a:ext cx="1662256" cy="910642"/>
              </a:xfrm>
              <a:custGeom>
                <a:avLst/>
                <a:gdLst>
                  <a:gd name="connsiteX0" fmla="*/ 1662162 w 1662256"/>
                  <a:gd name="connsiteY0" fmla="*/ 0 h 910642"/>
                  <a:gd name="connsiteX1" fmla="*/ 1329710 w 1662256"/>
                  <a:gd name="connsiteY1" fmla="*/ 910643 h 910642"/>
                  <a:gd name="connsiteX2" fmla="*/ 1018192 w 1662256"/>
                  <a:gd name="connsiteY2" fmla="*/ 910643 h 910642"/>
                  <a:gd name="connsiteX3" fmla="*/ 831794 w 1662256"/>
                  <a:gd name="connsiteY3" fmla="*/ 326525 h 910642"/>
                  <a:gd name="connsiteX4" fmla="*/ 644065 w 1662256"/>
                  <a:gd name="connsiteY4" fmla="*/ 910643 h 910642"/>
                  <a:gd name="connsiteX5" fmla="*/ 332451 w 1662256"/>
                  <a:gd name="connsiteY5" fmla="*/ 910643 h 910642"/>
                  <a:gd name="connsiteX6" fmla="*/ 0 w 1662256"/>
                  <a:gd name="connsiteY6" fmla="*/ 0 h 910642"/>
                  <a:gd name="connsiteX7" fmla="*/ 319416 w 1662256"/>
                  <a:gd name="connsiteY7" fmla="*/ 0 h 910642"/>
                  <a:gd name="connsiteX8" fmla="*/ 496679 w 1662256"/>
                  <a:gd name="connsiteY8" fmla="*/ 582788 h 910642"/>
                  <a:gd name="connsiteX9" fmla="*/ 690974 w 1662256"/>
                  <a:gd name="connsiteY9" fmla="*/ 0 h 910642"/>
                  <a:gd name="connsiteX10" fmla="*/ 976516 w 1662256"/>
                  <a:gd name="connsiteY10" fmla="*/ 0 h 910642"/>
                  <a:gd name="connsiteX11" fmla="*/ 1170811 w 1662256"/>
                  <a:gd name="connsiteY11" fmla="*/ 582788 h 910642"/>
                  <a:gd name="connsiteX12" fmla="*/ 1348074 w 1662256"/>
                  <a:gd name="connsiteY12" fmla="*/ 0 h 910642"/>
                  <a:gd name="connsiteX13" fmla="*/ 1662257 w 1662256"/>
                  <a:gd name="connsiteY13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2256" h="910642">
                    <a:moveTo>
                      <a:pt x="1662162" y="0"/>
                    </a:moveTo>
                    <a:lnTo>
                      <a:pt x="1329710" y="910643"/>
                    </a:lnTo>
                    <a:lnTo>
                      <a:pt x="1018192" y="910643"/>
                    </a:lnTo>
                    <a:lnTo>
                      <a:pt x="831794" y="326525"/>
                    </a:lnTo>
                    <a:lnTo>
                      <a:pt x="644065" y="910643"/>
                    </a:lnTo>
                    <a:lnTo>
                      <a:pt x="332451" y="910643"/>
                    </a:lnTo>
                    <a:lnTo>
                      <a:pt x="0" y="0"/>
                    </a:lnTo>
                    <a:lnTo>
                      <a:pt x="319416" y="0"/>
                    </a:lnTo>
                    <a:lnTo>
                      <a:pt x="496679" y="582788"/>
                    </a:lnTo>
                    <a:lnTo>
                      <a:pt x="690974" y="0"/>
                    </a:lnTo>
                    <a:lnTo>
                      <a:pt x="976516" y="0"/>
                    </a:lnTo>
                    <a:lnTo>
                      <a:pt x="1170811" y="582788"/>
                    </a:lnTo>
                    <a:lnTo>
                      <a:pt x="1348074" y="0"/>
                    </a:lnTo>
                    <a:lnTo>
                      <a:pt x="1662257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6AF3095D-49EB-804A-4BD2-5E8B22F0298C}"/>
                  </a:ext>
                </a:extLst>
              </p:cNvPr>
              <p:cNvSpPr/>
              <p:nvPr/>
            </p:nvSpPr>
            <p:spPr>
              <a:xfrm>
                <a:off x="1977451" y="4339656"/>
                <a:ext cx="318178" cy="910642"/>
              </a:xfrm>
              <a:custGeom>
                <a:avLst/>
                <a:gdLst>
                  <a:gd name="connsiteX0" fmla="*/ 0 w 318178"/>
                  <a:gd name="connsiteY0" fmla="*/ 910643 h 910642"/>
                  <a:gd name="connsiteX1" fmla="*/ 0 w 318178"/>
                  <a:gd name="connsiteY1" fmla="*/ 0 h 910642"/>
                  <a:gd name="connsiteX2" fmla="*/ 318179 w 318178"/>
                  <a:gd name="connsiteY2" fmla="*/ 0 h 910642"/>
                  <a:gd name="connsiteX3" fmla="*/ 318179 w 318178"/>
                  <a:gd name="connsiteY3" fmla="*/ 910643 h 910642"/>
                  <a:gd name="connsiteX4" fmla="*/ 0 w 318178"/>
                  <a:gd name="connsiteY4" fmla="*/ 910643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78" h="910642">
                    <a:moveTo>
                      <a:pt x="0" y="910643"/>
                    </a:moveTo>
                    <a:lnTo>
                      <a:pt x="0" y="0"/>
                    </a:lnTo>
                    <a:lnTo>
                      <a:pt x="318179" y="0"/>
                    </a:lnTo>
                    <a:lnTo>
                      <a:pt x="318179" y="910643"/>
                    </a:lnTo>
                    <a:lnTo>
                      <a:pt x="0" y="910643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16112BBF-521F-F9C5-C06C-F7CE358C6A92}"/>
                  </a:ext>
                </a:extLst>
              </p:cNvPr>
              <p:cNvSpPr/>
              <p:nvPr/>
            </p:nvSpPr>
            <p:spPr>
              <a:xfrm>
                <a:off x="2414471" y="4309653"/>
                <a:ext cx="1104492" cy="970554"/>
              </a:xfrm>
              <a:custGeom>
                <a:avLst/>
                <a:gdLst>
                  <a:gd name="connsiteX0" fmla="*/ 1104302 w 1104492"/>
                  <a:gd name="connsiteY0" fmla="*/ 646593 h 970554"/>
                  <a:gd name="connsiteX1" fmla="*/ 590591 w 1104492"/>
                  <a:gd name="connsiteY1" fmla="*/ 970555 h 970554"/>
                  <a:gd name="connsiteX2" fmla="*/ 0 w 1104492"/>
                  <a:gd name="connsiteY2" fmla="*/ 797560 h 970554"/>
                  <a:gd name="connsiteX3" fmla="*/ 157757 w 1104492"/>
                  <a:gd name="connsiteY3" fmla="*/ 615450 h 970554"/>
                  <a:gd name="connsiteX4" fmla="*/ 595824 w 1104492"/>
                  <a:gd name="connsiteY4" fmla="*/ 746763 h 970554"/>
                  <a:gd name="connsiteX5" fmla="*/ 790119 w 1104492"/>
                  <a:gd name="connsiteY5" fmla="*/ 679065 h 970554"/>
                  <a:gd name="connsiteX6" fmla="*/ 568516 w 1104492"/>
                  <a:gd name="connsiteY6" fmla="*/ 604911 h 970554"/>
                  <a:gd name="connsiteX7" fmla="*/ 39201 w 1104492"/>
                  <a:gd name="connsiteY7" fmla="*/ 308295 h 970554"/>
                  <a:gd name="connsiteX8" fmla="*/ 552912 w 1104492"/>
                  <a:gd name="connsiteY8" fmla="*/ 0 h 970554"/>
                  <a:gd name="connsiteX9" fmla="*/ 1065291 w 1104492"/>
                  <a:gd name="connsiteY9" fmla="*/ 131313 h 970554"/>
                  <a:gd name="connsiteX10" fmla="*/ 914098 w 1104492"/>
                  <a:gd name="connsiteY10" fmla="*/ 316081 h 970554"/>
                  <a:gd name="connsiteX11" fmla="*/ 553007 w 1104492"/>
                  <a:gd name="connsiteY11" fmla="*/ 221038 h 970554"/>
                  <a:gd name="connsiteX12" fmla="*/ 353574 w 1104492"/>
                  <a:gd name="connsiteY12" fmla="*/ 282279 h 970554"/>
                  <a:gd name="connsiteX13" fmla="*/ 582979 w 1104492"/>
                  <a:gd name="connsiteY13" fmla="*/ 347318 h 970554"/>
                  <a:gd name="connsiteX14" fmla="*/ 1104492 w 1104492"/>
                  <a:gd name="connsiteY14" fmla="*/ 64649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492" h="970554">
                    <a:moveTo>
                      <a:pt x="1104302" y="646593"/>
                    </a:moveTo>
                    <a:cubicBezTo>
                      <a:pt x="1104302" y="843135"/>
                      <a:pt x="928276" y="970555"/>
                      <a:pt x="590591" y="970555"/>
                    </a:cubicBezTo>
                    <a:cubicBezTo>
                      <a:pt x="353384" y="970555"/>
                      <a:pt x="147386" y="908174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763"/>
                      <a:pt x="595824" y="746763"/>
                    </a:cubicBezTo>
                    <a:cubicBezTo>
                      <a:pt x="726274" y="746763"/>
                      <a:pt x="790119" y="724640"/>
                      <a:pt x="790119" y="679065"/>
                    </a:cubicBezTo>
                    <a:cubicBezTo>
                      <a:pt x="790119" y="633491"/>
                      <a:pt x="737977" y="619343"/>
                      <a:pt x="568516" y="604911"/>
                    </a:cubicBezTo>
                    <a:cubicBezTo>
                      <a:pt x="288302" y="580225"/>
                      <a:pt x="39201" y="516420"/>
                      <a:pt x="39201" y="308295"/>
                    </a:cubicBezTo>
                    <a:cubicBezTo>
                      <a:pt x="39201" y="100170"/>
                      <a:pt x="256903" y="0"/>
                      <a:pt x="552912" y="0"/>
                    </a:cubicBezTo>
                    <a:cubicBezTo>
                      <a:pt x="744542" y="0"/>
                      <a:pt x="933604" y="44151"/>
                      <a:pt x="1065291" y="131313"/>
                    </a:cubicBezTo>
                    <a:lnTo>
                      <a:pt x="914098" y="316081"/>
                    </a:lnTo>
                    <a:cubicBezTo>
                      <a:pt x="811052" y="248383"/>
                      <a:pt x="689832" y="221038"/>
                      <a:pt x="553007" y="221038"/>
                    </a:cubicBezTo>
                    <a:cubicBezTo>
                      <a:pt x="460427" y="221038"/>
                      <a:pt x="353574" y="232812"/>
                      <a:pt x="353574" y="282279"/>
                    </a:cubicBezTo>
                    <a:cubicBezTo>
                      <a:pt x="353574" y="326430"/>
                      <a:pt x="435688" y="335545"/>
                      <a:pt x="582979" y="347318"/>
                    </a:cubicBezTo>
                    <a:cubicBezTo>
                      <a:pt x="888028" y="372005"/>
                      <a:pt x="1104492" y="430588"/>
                      <a:pt x="1104492" y="64649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9CEE7A33-9286-FFA9-AC30-117527430257}"/>
                  </a:ext>
                </a:extLst>
              </p:cNvPr>
              <p:cNvSpPr/>
              <p:nvPr/>
            </p:nvSpPr>
            <p:spPr>
              <a:xfrm>
                <a:off x="3652362" y="4339656"/>
                <a:ext cx="1002587" cy="910642"/>
              </a:xfrm>
              <a:custGeom>
                <a:avLst/>
                <a:gdLst>
                  <a:gd name="connsiteX0" fmla="*/ 1002492 w 1002587"/>
                  <a:gd name="connsiteY0" fmla="*/ 681629 h 910642"/>
                  <a:gd name="connsiteX1" fmla="*/ 1002492 w 1002587"/>
                  <a:gd name="connsiteY1" fmla="*/ 910643 h 910642"/>
                  <a:gd name="connsiteX2" fmla="*/ 0 w 1002587"/>
                  <a:gd name="connsiteY2" fmla="*/ 910643 h 910642"/>
                  <a:gd name="connsiteX3" fmla="*/ 0 w 1002587"/>
                  <a:gd name="connsiteY3" fmla="*/ 0 h 910642"/>
                  <a:gd name="connsiteX4" fmla="*/ 988220 w 1002587"/>
                  <a:gd name="connsiteY4" fmla="*/ 0 h 910642"/>
                  <a:gd name="connsiteX5" fmla="*/ 988220 w 1002587"/>
                  <a:gd name="connsiteY5" fmla="*/ 229014 h 910642"/>
                  <a:gd name="connsiteX6" fmla="*/ 311614 w 1002587"/>
                  <a:gd name="connsiteY6" fmla="*/ 229014 h 910642"/>
                  <a:gd name="connsiteX7" fmla="*/ 311614 w 1002587"/>
                  <a:gd name="connsiteY7" fmla="*/ 344755 h 910642"/>
                  <a:gd name="connsiteX8" fmla="*/ 863098 w 1002587"/>
                  <a:gd name="connsiteY8" fmla="*/ 344755 h 910642"/>
                  <a:gd name="connsiteX9" fmla="*/ 863098 w 1002587"/>
                  <a:gd name="connsiteY9" fmla="*/ 555444 h 910642"/>
                  <a:gd name="connsiteX10" fmla="*/ 311614 w 1002587"/>
                  <a:gd name="connsiteY10" fmla="*/ 555444 h 910642"/>
                  <a:gd name="connsiteX11" fmla="*/ 311614 w 1002587"/>
                  <a:gd name="connsiteY11" fmla="*/ 681629 h 910642"/>
                  <a:gd name="connsiteX12" fmla="*/ 1002587 w 1002587"/>
                  <a:gd name="connsiteY12" fmla="*/ 681629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2587" h="910642">
                    <a:moveTo>
                      <a:pt x="1002492" y="681629"/>
                    </a:moveTo>
                    <a:lnTo>
                      <a:pt x="1002492" y="910643"/>
                    </a:lnTo>
                    <a:lnTo>
                      <a:pt x="0" y="910643"/>
                    </a:lnTo>
                    <a:lnTo>
                      <a:pt x="0" y="0"/>
                    </a:lnTo>
                    <a:lnTo>
                      <a:pt x="988220" y="0"/>
                    </a:lnTo>
                    <a:lnTo>
                      <a:pt x="988220" y="229014"/>
                    </a:lnTo>
                    <a:lnTo>
                      <a:pt x="311614" y="229014"/>
                    </a:lnTo>
                    <a:lnTo>
                      <a:pt x="311614" y="344755"/>
                    </a:lnTo>
                    <a:lnTo>
                      <a:pt x="863098" y="344755"/>
                    </a:lnTo>
                    <a:lnTo>
                      <a:pt x="863098" y="555444"/>
                    </a:lnTo>
                    <a:lnTo>
                      <a:pt x="311614" y="555444"/>
                    </a:lnTo>
                    <a:lnTo>
                      <a:pt x="311614" y="681629"/>
                    </a:lnTo>
                    <a:lnTo>
                      <a:pt x="1002587" y="681629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sp>
        <p:nvSpPr>
          <p:cNvPr id="27" name="Tijdelijke aanduiding voor tekst 26">
            <a:extLst>
              <a:ext uri="{FF2B5EF4-FFF2-40B4-BE49-F238E27FC236}">
                <a16:creationId xmlns:a16="http://schemas.microsoft.com/office/drawing/2014/main" id="{95DCC372-38BA-4454-672B-44E05F5738C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565" y="1560513"/>
            <a:ext cx="7534835" cy="4543166"/>
          </a:xfrm>
        </p:spPr>
        <p:txBody>
          <a:bodyPr/>
          <a:lstStyle>
            <a:lvl1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1pPr>
            <a:lvl2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2pPr>
            <a:lvl3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3pPr>
            <a:lvl4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4pPr>
            <a:lvl5pPr>
              <a:buClr>
                <a:srgbClr val="ED8F0D"/>
              </a:buClr>
              <a:defRPr>
                <a:solidFill>
                  <a:srgbClr val="102F44"/>
                </a:solidFill>
              </a:defRPr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35" name="Tijdelijke aanduiding voor afbeelding 34">
            <a:extLst>
              <a:ext uri="{FF2B5EF4-FFF2-40B4-BE49-F238E27FC236}">
                <a16:creationId xmlns:a16="http://schemas.microsoft.com/office/drawing/2014/main" id="{975198A2-57BA-F786-0D72-4481C91C6A2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610600" y="895455"/>
            <a:ext cx="3581397" cy="5651338"/>
          </a:xfrm>
          <a:custGeom>
            <a:avLst/>
            <a:gdLst>
              <a:gd name="connsiteX0" fmla="*/ 1066854 w 3581397"/>
              <a:gd name="connsiteY0" fmla="*/ 0 h 5651338"/>
              <a:gd name="connsiteX1" fmla="*/ 3581397 w 3581397"/>
              <a:gd name="connsiteY1" fmla="*/ 0 h 5651338"/>
              <a:gd name="connsiteX2" fmla="*/ 3581397 w 3581397"/>
              <a:gd name="connsiteY2" fmla="*/ 5651338 h 5651338"/>
              <a:gd name="connsiteX3" fmla="*/ 0 w 3581397"/>
              <a:gd name="connsiteY3" fmla="*/ 5651338 h 5651338"/>
              <a:gd name="connsiteX4" fmla="*/ 0 w 3581397"/>
              <a:gd name="connsiteY4" fmla="*/ 243264 h 5651338"/>
              <a:gd name="connsiteX5" fmla="*/ 817967 w 3581397"/>
              <a:gd name="connsiteY5" fmla="*/ 243264 h 5651338"/>
              <a:gd name="connsiteX6" fmla="*/ 1048605 w 3581397"/>
              <a:gd name="connsiteY6" fmla="*/ 90387 h 5651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581397" h="5651338">
                <a:moveTo>
                  <a:pt x="1066854" y="0"/>
                </a:moveTo>
                <a:lnTo>
                  <a:pt x="3581397" y="0"/>
                </a:lnTo>
                <a:lnTo>
                  <a:pt x="3581397" y="5651338"/>
                </a:lnTo>
                <a:lnTo>
                  <a:pt x="0" y="5651338"/>
                </a:lnTo>
                <a:lnTo>
                  <a:pt x="0" y="243264"/>
                </a:lnTo>
                <a:lnTo>
                  <a:pt x="817967" y="243264"/>
                </a:lnTo>
                <a:cubicBezTo>
                  <a:pt x="921648" y="243264"/>
                  <a:pt x="1010607" y="180226"/>
                  <a:pt x="1048605" y="90387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nl-NL"/>
          </a:p>
        </p:txBody>
      </p:sp>
      <p:sp>
        <p:nvSpPr>
          <p:cNvPr id="23" name="Vrije vorm 22">
            <a:extLst>
              <a:ext uri="{FF2B5EF4-FFF2-40B4-BE49-F238E27FC236}">
                <a16:creationId xmlns:a16="http://schemas.microsoft.com/office/drawing/2014/main" id="{6FC2BFBA-3EFB-AE5D-0FE8-25EF84DD7C1D}"/>
              </a:ext>
            </a:extLst>
          </p:cNvPr>
          <p:cNvSpPr/>
          <p:nvPr userDrawn="1"/>
        </p:nvSpPr>
        <p:spPr>
          <a:xfrm>
            <a:off x="-12573" y="553868"/>
            <a:ext cx="9691449" cy="587441"/>
          </a:xfrm>
          <a:custGeom>
            <a:avLst/>
            <a:gdLst>
              <a:gd name="connsiteX0" fmla="*/ 0 w 9691449"/>
              <a:gd name="connsiteY0" fmla="*/ 0 h 587441"/>
              <a:gd name="connsiteX1" fmla="*/ 250309 w 9691449"/>
              <a:gd name="connsiteY1" fmla="*/ 0 h 587441"/>
              <a:gd name="connsiteX2" fmla="*/ 5460873 w 9691449"/>
              <a:gd name="connsiteY2" fmla="*/ 0 h 587441"/>
              <a:gd name="connsiteX3" fmla="*/ 9441140 w 9691449"/>
              <a:gd name="connsiteY3" fmla="*/ 0 h 587441"/>
              <a:gd name="connsiteX4" fmla="*/ 9691449 w 9691449"/>
              <a:gd name="connsiteY4" fmla="*/ 0 h 587441"/>
              <a:gd name="connsiteX5" fmla="*/ 9691449 w 9691449"/>
              <a:gd name="connsiteY5" fmla="*/ 250309 h 587441"/>
              <a:gd name="connsiteX6" fmla="*/ 9691449 w 9691449"/>
              <a:gd name="connsiteY6" fmla="*/ 293723 h 587441"/>
              <a:gd name="connsiteX7" fmla="*/ 9691449 w 9691449"/>
              <a:gd name="connsiteY7" fmla="*/ 337132 h 587441"/>
              <a:gd name="connsiteX8" fmla="*/ 9441140 w 9691449"/>
              <a:gd name="connsiteY8" fmla="*/ 587441 h 587441"/>
              <a:gd name="connsiteX9" fmla="*/ 5460873 w 9691449"/>
              <a:gd name="connsiteY9" fmla="*/ 587441 h 587441"/>
              <a:gd name="connsiteX10" fmla="*/ 250309 w 9691449"/>
              <a:gd name="connsiteY10" fmla="*/ 587441 h 587441"/>
              <a:gd name="connsiteX11" fmla="*/ 0 w 9691449"/>
              <a:gd name="connsiteY11" fmla="*/ 587441 h 587441"/>
              <a:gd name="connsiteX12" fmla="*/ 0 w 9691449"/>
              <a:gd name="connsiteY12" fmla="*/ 337132 h 587441"/>
              <a:gd name="connsiteX13" fmla="*/ 0 w 9691449"/>
              <a:gd name="connsiteY13" fmla="*/ 293723 h 587441"/>
              <a:gd name="connsiteX14" fmla="*/ 0 w 9691449"/>
              <a:gd name="connsiteY14" fmla="*/ 250309 h 587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91449" h="587441">
                <a:moveTo>
                  <a:pt x="0" y="0"/>
                </a:moveTo>
                <a:lnTo>
                  <a:pt x="250309" y="0"/>
                </a:lnTo>
                <a:lnTo>
                  <a:pt x="5460873" y="0"/>
                </a:lnTo>
                <a:lnTo>
                  <a:pt x="9441140" y="0"/>
                </a:lnTo>
                <a:lnTo>
                  <a:pt x="9691449" y="0"/>
                </a:lnTo>
                <a:lnTo>
                  <a:pt x="9691449" y="250309"/>
                </a:lnTo>
                <a:lnTo>
                  <a:pt x="9691449" y="293723"/>
                </a:lnTo>
                <a:lnTo>
                  <a:pt x="9691449" y="337132"/>
                </a:lnTo>
                <a:cubicBezTo>
                  <a:pt x="9691449" y="475374"/>
                  <a:pt x="9579382" y="587441"/>
                  <a:pt x="9441140" y="587441"/>
                </a:cubicBezTo>
                <a:lnTo>
                  <a:pt x="5460873" y="587441"/>
                </a:lnTo>
                <a:lnTo>
                  <a:pt x="250309" y="587441"/>
                </a:lnTo>
                <a:lnTo>
                  <a:pt x="0" y="587441"/>
                </a:lnTo>
                <a:lnTo>
                  <a:pt x="0" y="337132"/>
                </a:lnTo>
                <a:lnTo>
                  <a:pt x="0" y="293723"/>
                </a:lnTo>
                <a:lnTo>
                  <a:pt x="0" y="250309"/>
                </a:lnTo>
                <a:close/>
              </a:path>
            </a:pathLst>
          </a:custGeom>
          <a:solidFill>
            <a:srgbClr val="ED8F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2C0264-FD71-4E12-4079-1CF611EE7D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2573" y="560684"/>
            <a:ext cx="9027435" cy="587441"/>
          </a:xfrm>
        </p:spPr>
        <p:txBody>
          <a:bodyPr lIns="720000" anchor="ctr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</p:spTree>
    <p:extLst>
      <p:ext uri="{BB962C8B-B14F-4D97-AF65-F5344CB8AC3E}">
        <p14:creationId xmlns:p14="http://schemas.microsoft.com/office/powerpoint/2010/main" val="26756004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ulle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F3671819-9DFA-2F4A-8E9B-D50CC3AD5F1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1762956" y="1390618"/>
            <a:ext cx="8767360" cy="5002162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505119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ransi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8A6D03A8-38DA-1141-93A4-105CC5C37F93}"/>
              </a:ext>
            </a:extLst>
          </p:cNvPr>
          <p:cNvSpPr/>
          <p:nvPr userDrawn="1"/>
        </p:nvSpPr>
        <p:spPr>
          <a:xfrm>
            <a:off x="11109043" y="314325"/>
            <a:ext cx="404918" cy="395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 dirty="0">
              <a:latin typeface="Nunito Sans ExtraLight" pitchFamily="2" charset="77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DC62909-C37E-EF49-BB9D-4A406142B3FE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60611" y="381001"/>
            <a:ext cx="6097588" cy="6096000"/>
          </a:xfrm>
          <a:custGeom>
            <a:avLst/>
            <a:gdLst>
              <a:gd name="connsiteX0" fmla="*/ 6096000 w 12192000"/>
              <a:gd name="connsiteY0" fmla="*/ 0 h 12192000"/>
              <a:gd name="connsiteX1" fmla="*/ 12192000 w 12192000"/>
              <a:gd name="connsiteY1" fmla="*/ 6096000 h 12192000"/>
              <a:gd name="connsiteX2" fmla="*/ 6096000 w 12192000"/>
              <a:gd name="connsiteY2" fmla="*/ 12192000 h 12192000"/>
              <a:gd name="connsiteX3" fmla="*/ 0 w 12192000"/>
              <a:gd name="connsiteY3" fmla="*/ 6096000 h 12192000"/>
              <a:gd name="connsiteX4" fmla="*/ 6096000 w 12192000"/>
              <a:gd name="connsiteY4" fmla="*/ 0 h 12192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12192000">
                <a:moveTo>
                  <a:pt x="6096000" y="0"/>
                </a:moveTo>
                <a:cubicBezTo>
                  <a:pt x="9462728" y="0"/>
                  <a:pt x="12192000" y="2729272"/>
                  <a:pt x="12192000" y="6096000"/>
                </a:cubicBezTo>
                <a:cubicBezTo>
                  <a:pt x="12192000" y="9462728"/>
                  <a:pt x="9462728" y="12192000"/>
                  <a:pt x="6096000" y="12192000"/>
                </a:cubicBezTo>
                <a:cubicBezTo>
                  <a:pt x="2729272" y="12192000"/>
                  <a:pt x="0" y="9462728"/>
                  <a:pt x="0" y="6096000"/>
                </a:cubicBezTo>
                <a:cubicBezTo>
                  <a:pt x="0" y="2729272"/>
                  <a:pt x="2729272" y="0"/>
                  <a:pt x="6096000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4488431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artners 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C262896-D45B-8540-99F3-4E0343A95BF4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1659429" y="2160309"/>
            <a:ext cx="1857698" cy="1857193"/>
          </a:xfrm>
          <a:prstGeom prst="ellipse">
            <a:avLst/>
          </a:prstGeom>
          <a:solidFill>
            <a:schemeClr val="bg2">
              <a:lumMod val="95000"/>
            </a:schemeClr>
          </a:solidFill>
          <a:ln w="63500">
            <a:gradFill>
              <a:gsLst>
                <a:gs pos="0">
                  <a:schemeClr val="accent1"/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2700000" scaled="0"/>
            </a:gradFill>
          </a:ln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5F402F7B-4E9F-1847-BA06-26E68B645E88}"/>
              </a:ext>
            </a:extLst>
          </p:cNvPr>
          <p:cNvSpPr>
            <a:spLocks noGrp="1" noChangeAspect="1"/>
          </p:cNvSpPr>
          <p:nvPr>
            <p:ph type="pic" sz="quarter" idx="17"/>
          </p:nvPr>
        </p:nvSpPr>
        <p:spPr>
          <a:xfrm>
            <a:off x="4004111" y="2160309"/>
            <a:ext cx="1857698" cy="1857193"/>
          </a:xfrm>
          <a:prstGeom prst="ellipse">
            <a:avLst/>
          </a:prstGeom>
          <a:solidFill>
            <a:schemeClr val="bg2">
              <a:lumMod val="95000"/>
            </a:schemeClr>
          </a:solidFill>
          <a:ln w="63500">
            <a:gradFill>
              <a:gsLst>
                <a:gs pos="0">
                  <a:schemeClr val="accent1"/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2700000" scaled="0"/>
            </a:gradFill>
          </a:ln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CC5A2577-05DA-7A4A-AF87-71AE01D6E68D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348793" y="2165503"/>
            <a:ext cx="1857698" cy="1857193"/>
          </a:xfrm>
          <a:prstGeom prst="ellipse">
            <a:avLst/>
          </a:prstGeom>
          <a:solidFill>
            <a:schemeClr val="bg2">
              <a:lumMod val="95000"/>
            </a:schemeClr>
          </a:solidFill>
          <a:ln w="63500">
            <a:gradFill>
              <a:gsLst>
                <a:gs pos="0">
                  <a:schemeClr val="accent1"/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2700000" scaled="0"/>
            </a:gradFill>
          </a:ln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2A1CBFF6-2D5A-A846-B123-4BD4299E347A}"/>
              </a:ext>
            </a:extLst>
          </p:cNvPr>
          <p:cNvSpPr>
            <a:spLocks noGrp="1" noChangeAspect="1"/>
          </p:cNvSpPr>
          <p:nvPr>
            <p:ph type="pic" sz="quarter" idx="19"/>
          </p:nvPr>
        </p:nvSpPr>
        <p:spPr>
          <a:xfrm>
            <a:off x="2822469" y="4474625"/>
            <a:ext cx="1857698" cy="1857193"/>
          </a:xfrm>
          <a:prstGeom prst="ellipse">
            <a:avLst/>
          </a:prstGeom>
          <a:solidFill>
            <a:schemeClr val="bg2">
              <a:lumMod val="95000"/>
            </a:schemeClr>
          </a:solidFill>
          <a:ln w="63500">
            <a:gradFill>
              <a:gsLst>
                <a:gs pos="0">
                  <a:schemeClr val="accent1"/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2700000" scaled="0"/>
            </a:gradFill>
          </a:ln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9">
            <a:extLst>
              <a:ext uri="{FF2B5EF4-FFF2-40B4-BE49-F238E27FC236}">
                <a16:creationId xmlns:a16="http://schemas.microsoft.com/office/drawing/2014/main" id="{6BF9EB6C-446F-E84B-8809-6FF2A081467B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5167151" y="4474625"/>
            <a:ext cx="1857698" cy="1857193"/>
          </a:xfrm>
          <a:prstGeom prst="ellipse">
            <a:avLst/>
          </a:prstGeom>
          <a:solidFill>
            <a:schemeClr val="bg2">
              <a:lumMod val="95000"/>
            </a:schemeClr>
          </a:solidFill>
          <a:ln w="63500">
            <a:gradFill>
              <a:gsLst>
                <a:gs pos="0">
                  <a:schemeClr val="accent1"/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2700000" scaled="0"/>
            </a:gradFill>
          </a:ln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0A16CA3F-C9FB-9C4B-B646-054BA4F0D4B6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7511833" y="4479819"/>
            <a:ext cx="1857698" cy="1857193"/>
          </a:xfrm>
          <a:prstGeom prst="ellipse">
            <a:avLst/>
          </a:prstGeom>
          <a:solidFill>
            <a:schemeClr val="bg2">
              <a:lumMod val="95000"/>
            </a:schemeClr>
          </a:solidFill>
          <a:ln w="63500">
            <a:gradFill>
              <a:gsLst>
                <a:gs pos="0">
                  <a:schemeClr val="accent1"/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2700000" scaled="0"/>
            </a:gradFill>
          </a:ln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E4BF7159-31E2-6542-BA5E-FE7483B3696E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8693475" y="2165503"/>
            <a:ext cx="1857698" cy="1857193"/>
          </a:xfrm>
          <a:prstGeom prst="ellipse">
            <a:avLst/>
          </a:prstGeom>
          <a:solidFill>
            <a:schemeClr val="bg2">
              <a:lumMod val="95000"/>
            </a:schemeClr>
          </a:solidFill>
          <a:ln w="63500">
            <a:gradFill>
              <a:gsLst>
                <a:gs pos="0">
                  <a:schemeClr val="accent1"/>
                </a:gs>
                <a:gs pos="50000">
                  <a:schemeClr val="accent2"/>
                </a:gs>
                <a:gs pos="100000">
                  <a:schemeClr val="accent3"/>
                </a:gs>
              </a:gsLst>
              <a:lin ang="2700000" scaled="0"/>
            </a:gradFill>
          </a:ln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85144267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Multi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2627486C-4C62-0D48-B165-AD52E7E599E7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941" y="1536700"/>
            <a:ext cx="3202821" cy="239236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FD1E5491-D83F-134E-8246-7ADD85825192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28569" y="1536700"/>
            <a:ext cx="3202821" cy="239236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0" name="Picture Placeholder 16">
            <a:extLst>
              <a:ext uri="{FF2B5EF4-FFF2-40B4-BE49-F238E27FC236}">
                <a16:creationId xmlns:a16="http://schemas.microsoft.com/office/drawing/2014/main" id="{5B848136-6E1A-F342-A158-C95BE1EC8CD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558106" y="1536700"/>
            <a:ext cx="3202821" cy="239236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1" name="Picture Placeholder 16">
            <a:extLst>
              <a:ext uri="{FF2B5EF4-FFF2-40B4-BE49-F238E27FC236}">
                <a16:creationId xmlns:a16="http://schemas.microsoft.com/office/drawing/2014/main" id="{8C4AB59F-AEBF-4D42-BEDE-DFF73383005A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4941" y="4084638"/>
            <a:ext cx="3202821" cy="239236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2" name="Picture Placeholder 16">
            <a:extLst>
              <a:ext uri="{FF2B5EF4-FFF2-40B4-BE49-F238E27FC236}">
                <a16:creationId xmlns:a16="http://schemas.microsoft.com/office/drawing/2014/main" id="{712E5861-D8F8-CE4F-BC1C-E1F05712AC73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8228569" y="4084638"/>
            <a:ext cx="3202821" cy="239236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3" name="Picture Placeholder 16">
            <a:extLst>
              <a:ext uri="{FF2B5EF4-FFF2-40B4-BE49-F238E27FC236}">
                <a16:creationId xmlns:a16="http://schemas.microsoft.com/office/drawing/2014/main" id="{BCF1E7A1-1F34-9C40-9C67-C0476D3B5C8B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4558106" y="4084638"/>
            <a:ext cx="3202821" cy="2392363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0871393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16">
            <a:extLst>
              <a:ext uri="{FF2B5EF4-FFF2-40B4-BE49-F238E27FC236}">
                <a16:creationId xmlns:a16="http://schemas.microsoft.com/office/drawing/2014/main" id="{C12CD587-EF4E-6A45-8026-A58CAE3575A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941" y="1536700"/>
            <a:ext cx="3202821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8" name="Picture Placeholder 16">
            <a:extLst>
              <a:ext uri="{FF2B5EF4-FFF2-40B4-BE49-F238E27FC236}">
                <a16:creationId xmlns:a16="http://schemas.microsoft.com/office/drawing/2014/main" id="{00EC1CFE-5A09-514D-B14A-EADA3C52DB2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228569" y="1536700"/>
            <a:ext cx="3202821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9" name="Picture Placeholder 16">
            <a:extLst>
              <a:ext uri="{FF2B5EF4-FFF2-40B4-BE49-F238E27FC236}">
                <a16:creationId xmlns:a16="http://schemas.microsoft.com/office/drawing/2014/main" id="{E5809E20-F6B9-0D46-9B48-D3CE3BDCC35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4558106" y="1536700"/>
            <a:ext cx="3202821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00411748"/>
      </p:ext>
    </p:extLst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tfoli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8A70F565-ED7A-2B45-92FF-EC1959629932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459633" y="1536700"/>
            <a:ext cx="4971756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8301DDAE-2262-2842-92BA-1B9BBC24463A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874941" y="1536700"/>
            <a:ext cx="4971756" cy="4940300"/>
          </a:xfrm>
          <a:prstGeom prst="rect">
            <a:avLst/>
          </a:prstGeom>
          <a:solidFill>
            <a:schemeClr val="bg2">
              <a:lumMod val="95000"/>
            </a:schemeClr>
          </a:solidFill>
          <a:effectLst/>
        </p:spPr>
        <p:txBody>
          <a:bodyPr wrap="square">
            <a:noAutofit/>
          </a:bodyPr>
          <a:lstStyle>
            <a:lvl1pPr marL="0" indent="0">
              <a:buNone/>
              <a:defRPr sz="1300" b="1" i="0">
                <a:ln>
                  <a:noFill/>
                </a:ln>
                <a:solidFill>
                  <a:schemeClr val="bg1">
                    <a:lumMod val="85000"/>
                  </a:schemeClr>
                </a:solidFill>
                <a:latin typeface="Nunito Sans SemiBold" pitchFamily="2" charset="77"/>
                <a:ea typeface="Source Sans Pro Light" panose="020B0403030403020204" pitchFamily="34" charset="0"/>
                <a:cs typeface="Noto Sans Light" panose="020B0402040504020204" pitchFamily="34" charset="0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40443988"/>
      </p:ext>
    </p:extLst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ultiple Phone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9">
            <a:extLst>
              <a:ext uri="{FF2B5EF4-FFF2-40B4-BE49-F238E27FC236}">
                <a16:creationId xmlns:a16="http://schemas.microsoft.com/office/drawing/2014/main" id="{40E8243B-9C0F-8D44-B90E-09CD0C03AE48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4393835" y="2243667"/>
            <a:ext cx="1700731" cy="3663884"/>
          </a:xfrm>
          <a:custGeom>
            <a:avLst/>
            <a:gdLst>
              <a:gd name="connsiteX0" fmla="*/ 0 w 3867993"/>
              <a:gd name="connsiteY0" fmla="*/ 0 h 8367894"/>
              <a:gd name="connsiteX1" fmla="*/ 3867993 w 3867993"/>
              <a:gd name="connsiteY1" fmla="*/ 0 h 8367894"/>
              <a:gd name="connsiteX2" fmla="*/ 3867993 w 3867993"/>
              <a:gd name="connsiteY2" fmla="*/ 8367894 h 8367894"/>
              <a:gd name="connsiteX3" fmla="*/ 0 w 3867993"/>
              <a:gd name="connsiteY3" fmla="*/ 8367894 h 836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67993" h="8367894">
                <a:moveTo>
                  <a:pt x="0" y="0"/>
                </a:moveTo>
                <a:lnTo>
                  <a:pt x="3867993" y="0"/>
                </a:lnTo>
                <a:lnTo>
                  <a:pt x="3867993" y="8367894"/>
                </a:lnTo>
                <a:lnTo>
                  <a:pt x="0" y="836789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lang="en-US" sz="1200" dirty="0"/>
            </a:lvl1pPr>
          </a:lstStyle>
          <a:p>
            <a:pPr lvl="0"/>
            <a:r>
              <a:rPr lang="en-US" dirty="0"/>
              <a:t>Drag and drop picture</a:t>
            </a:r>
          </a:p>
        </p:txBody>
      </p:sp>
      <p:sp>
        <p:nvSpPr>
          <p:cNvPr id="4" name="Picture Placeholder 29">
            <a:extLst>
              <a:ext uri="{FF2B5EF4-FFF2-40B4-BE49-F238E27FC236}">
                <a16:creationId xmlns:a16="http://schemas.microsoft.com/office/drawing/2014/main" id="{C4B9E844-F2EE-0241-B786-D7A2563713D4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003177" y="2237805"/>
            <a:ext cx="1700731" cy="3663884"/>
          </a:xfrm>
          <a:custGeom>
            <a:avLst/>
            <a:gdLst>
              <a:gd name="connsiteX0" fmla="*/ 0 w 3867993"/>
              <a:gd name="connsiteY0" fmla="*/ 0 h 8367894"/>
              <a:gd name="connsiteX1" fmla="*/ 3867993 w 3867993"/>
              <a:gd name="connsiteY1" fmla="*/ 0 h 8367894"/>
              <a:gd name="connsiteX2" fmla="*/ 3867993 w 3867993"/>
              <a:gd name="connsiteY2" fmla="*/ 8367894 h 8367894"/>
              <a:gd name="connsiteX3" fmla="*/ 0 w 3867993"/>
              <a:gd name="connsiteY3" fmla="*/ 8367894 h 836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67993" h="8367894">
                <a:moveTo>
                  <a:pt x="0" y="0"/>
                </a:moveTo>
                <a:lnTo>
                  <a:pt x="3867993" y="0"/>
                </a:lnTo>
                <a:lnTo>
                  <a:pt x="3867993" y="8367894"/>
                </a:lnTo>
                <a:lnTo>
                  <a:pt x="0" y="836789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lang="en-US" sz="1200" dirty="0"/>
            </a:lvl1pPr>
          </a:lstStyle>
          <a:p>
            <a:pPr lvl="0"/>
            <a:r>
              <a:rPr lang="en-US" dirty="0"/>
              <a:t>Drag and drop picture</a:t>
            </a:r>
          </a:p>
        </p:txBody>
      </p:sp>
      <p:sp>
        <p:nvSpPr>
          <p:cNvPr id="41" name="Picture Placeholder 29">
            <a:extLst>
              <a:ext uri="{FF2B5EF4-FFF2-40B4-BE49-F238E27FC236}">
                <a16:creationId xmlns:a16="http://schemas.microsoft.com/office/drawing/2014/main" id="{5BC7FBE8-AE1E-AD48-9D55-E40B106D075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2497218" y="1809978"/>
            <a:ext cx="2103357" cy="4531262"/>
          </a:xfrm>
          <a:custGeom>
            <a:avLst/>
            <a:gdLst>
              <a:gd name="connsiteX0" fmla="*/ 0 w 3867993"/>
              <a:gd name="connsiteY0" fmla="*/ 0 h 8367894"/>
              <a:gd name="connsiteX1" fmla="*/ 3867993 w 3867993"/>
              <a:gd name="connsiteY1" fmla="*/ 0 h 8367894"/>
              <a:gd name="connsiteX2" fmla="*/ 3867993 w 3867993"/>
              <a:gd name="connsiteY2" fmla="*/ 8367894 h 8367894"/>
              <a:gd name="connsiteX3" fmla="*/ 0 w 3867993"/>
              <a:gd name="connsiteY3" fmla="*/ 8367894 h 836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67993" h="8367894">
                <a:moveTo>
                  <a:pt x="0" y="0"/>
                </a:moveTo>
                <a:lnTo>
                  <a:pt x="3867993" y="0"/>
                </a:lnTo>
                <a:lnTo>
                  <a:pt x="3867993" y="8367894"/>
                </a:lnTo>
                <a:lnTo>
                  <a:pt x="0" y="836789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lang="en-US" sz="1200" dirty="0"/>
            </a:lvl1pPr>
          </a:lstStyle>
          <a:p>
            <a:pPr lvl="0"/>
            <a:r>
              <a:rPr lang="en-US" dirty="0"/>
              <a:t>Drag and drop picture</a:t>
            </a:r>
          </a:p>
        </p:txBody>
      </p:sp>
    </p:spTree>
    <p:extLst>
      <p:ext uri="{BB962C8B-B14F-4D97-AF65-F5344CB8AC3E}">
        <p14:creationId xmlns:p14="http://schemas.microsoft.com/office/powerpoint/2010/main" val="4214880098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ptop M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10">
            <a:extLst>
              <a:ext uri="{FF2B5EF4-FFF2-40B4-BE49-F238E27FC236}">
                <a16:creationId xmlns:a16="http://schemas.microsoft.com/office/drawing/2014/main" id="{5317054E-9777-9843-A89D-C5A06ECD5A3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39952" y="2206467"/>
            <a:ext cx="5515465" cy="3640746"/>
          </a:xfrm>
          <a:custGeom>
            <a:avLst/>
            <a:gdLst>
              <a:gd name="connsiteX0" fmla="*/ 0 w 3867993"/>
              <a:gd name="connsiteY0" fmla="*/ 0 h 8367894"/>
              <a:gd name="connsiteX1" fmla="*/ 3867993 w 3867993"/>
              <a:gd name="connsiteY1" fmla="*/ 0 h 8367894"/>
              <a:gd name="connsiteX2" fmla="*/ 3867993 w 3867993"/>
              <a:gd name="connsiteY2" fmla="*/ 8367894 h 8367894"/>
              <a:gd name="connsiteX3" fmla="*/ 0 w 3867993"/>
              <a:gd name="connsiteY3" fmla="*/ 8367894 h 836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67993" h="8367894">
                <a:moveTo>
                  <a:pt x="0" y="0"/>
                </a:moveTo>
                <a:lnTo>
                  <a:pt x="3867993" y="0"/>
                </a:lnTo>
                <a:lnTo>
                  <a:pt x="3867993" y="8367894"/>
                </a:lnTo>
                <a:lnTo>
                  <a:pt x="0" y="836789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lang="en-US" sz="1200" dirty="0"/>
            </a:lvl1pPr>
          </a:lstStyle>
          <a:p>
            <a:pPr lvl="0"/>
            <a:r>
              <a:rPr lang="en-US" dirty="0"/>
              <a:t>Drag and drop picture</a:t>
            </a:r>
          </a:p>
        </p:txBody>
      </p:sp>
    </p:spTree>
    <p:extLst>
      <p:ext uri="{BB962C8B-B14F-4D97-AF65-F5344CB8AC3E}">
        <p14:creationId xmlns:p14="http://schemas.microsoft.com/office/powerpoint/2010/main" val="279104712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sktop Maocku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10">
            <a:extLst>
              <a:ext uri="{FF2B5EF4-FFF2-40B4-BE49-F238E27FC236}">
                <a16:creationId xmlns:a16="http://schemas.microsoft.com/office/drawing/2014/main" id="{75AC599F-D966-1244-8682-69358B7539F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-5078" y="1811932"/>
            <a:ext cx="6083389" cy="3478818"/>
          </a:xfrm>
          <a:custGeom>
            <a:avLst/>
            <a:gdLst>
              <a:gd name="connsiteX0" fmla="*/ 0 w 3867993"/>
              <a:gd name="connsiteY0" fmla="*/ 0 h 8367894"/>
              <a:gd name="connsiteX1" fmla="*/ 3867993 w 3867993"/>
              <a:gd name="connsiteY1" fmla="*/ 0 h 8367894"/>
              <a:gd name="connsiteX2" fmla="*/ 3867993 w 3867993"/>
              <a:gd name="connsiteY2" fmla="*/ 8367894 h 8367894"/>
              <a:gd name="connsiteX3" fmla="*/ 0 w 3867993"/>
              <a:gd name="connsiteY3" fmla="*/ 8367894 h 8367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867993" h="8367894">
                <a:moveTo>
                  <a:pt x="0" y="0"/>
                </a:moveTo>
                <a:lnTo>
                  <a:pt x="3867993" y="0"/>
                </a:lnTo>
                <a:lnTo>
                  <a:pt x="3867993" y="8367894"/>
                </a:lnTo>
                <a:lnTo>
                  <a:pt x="0" y="8367894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anchor="ctr">
            <a:normAutofit/>
          </a:bodyPr>
          <a:lstStyle>
            <a:lvl1pPr marL="0" indent="0" algn="ctr">
              <a:buNone/>
              <a:defRPr lang="en-US" sz="1200" dirty="0"/>
            </a:lvl1pPr>
          </a:lstStyle>
          <a:p>
            <a:pPr lvl="0"/>
            <a:r>
              <a:rPr lang="en-US" dirty="0"/>
              <a:t>Drag and drop picture</a:t>
            </a:r>
          </a:p>
        </p:txBody>
      </p:sp>
    </p:spTree>
    <p:extLst>
      <p:ext uri="{BB962C8B-B14F-4D97-AF65-F5344CB8AC3E}">
        <p14:creationId xmlns:p14="http://schemas.microsoft.com/office/powerpoint/2010/main" val="563190979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es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473302C9-9CCE-E444-BBCB-D9415F5DE49D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432599" y="2675238"/>
            <a:ext cx="4758591" cy="4182763"/>
          </a:xfrm>
          <a:custGeom>
            <a:avLst/>
            <a:gdLst>
              <a:gd name="connsiteX0" fmla="*/ 4757353 w 9514704"/>
              <a:gd name="connsiteY0" fmla="*/ 0 h 8365525"/>
              <a:gd name="connsiteX1" fmla="*/ 9514704 w 9514704"/>
              <a:gd name="connsiteY1" fmla="*/ 4757352 h 8365525"/>
              <a:gd name="connsiteX2" fmla="*/ 7956088 w 9514704"/>
              <a:gd name="connsiteY2" fmla="*/ 8278830 h 8365525"/>
              <a:gd name="connsiteX3" fmla="*/ 7856005 w 9514704"/>
              <a:gd name="connsiteY3" fmla="*/ 8365525 h 8365525"/>
              <a:gd name="connsiteX4" fmla="*/ 1658700 w 9514704"/>
              <a:gd name="connsiteY4" fmla="*/ 8365525 h 8365525"/>
              <a:gd name="connsiteX5" fmla="*/ 1558616 w 9514704"/>
              <a:gd name="connsiteY5" fmla="*/ 8278830 h 8365525"/>
              <a:gd name="connsiteX6" fmla="*/ 0 w 9514704"/>
              <a:gd name="connsiteY6" fmla="*/ 4757352 h 8365525"/>
              <a:gd name="connsiteX7" fmla="*/ 4757353 w 9514704"/>
              <a:gd name="connsiteY7" fmla="*/ 0 h 83655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514704" h="8365525">
                <a:moveTo>
                  <a:pt x="4757353" y="0"/>
                </a:moveTo>
                <a:cubicBezTo>
                  <a:pt x="7384766" y="0"/>
                  <a:pt x="9514704" y="2129939"/>
                  <a:pt x="9514704" y="4757352"/>
                </a:cubicBezTo>
                <a:cubicBezTo>
                  <a:pt x="9514704" y="6153165"/>
                  <a:pt x="8913579" y="7408578"/>
                  <a:pt x="7956088" y="8278830"/>
                </a:cubicBezTo>
                <a:lnTo>
                  <a:pt x="7856005" y="8365525"/>
                </a:lnTo>
                <a:lnTo>
                  <a:pt x="1658700" y="8365525"/>
                </a:lnTo>
                <a:lnTo>
                  <a:pt x="1558616" y="8278830"/>
                </a:lnTo>
                <a:cubicBezTo>
                  <a:pt x="601126" y="7408578"/>
                  <a:pt x="0" y="6153165"/>
                  <a:pt x="0" y="4757352"/>
                </a:cubicBezTo>
                <a:cubicBezTo>
                  <a:pt x="0" y="2129939"/>
                  <a:pt x="2129939" y="0"/>
                  <a:pt x="4757353" y="0"/>
                </a:cubicBezTo>
                <a:close/>
              </a:path>
            </a:pathLst>
          </a:custGeom>
          <a:solidFill>
            <a:schemeClr val="bg2">
              <a:lumMod val="9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 lang="en-US" sz="1200" dirty="0"/>
            </a:lvl1pPr>
          </a:lstStyle>
          <a:p>
            <a:pPr lvl="0"/>
            <a:r>
              <a:rPr lang="en-US" dirty="0"/>
              <a:t>Drag and drop pictur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C9EB03A3-B96F-8C4F-9F30-DA1E7B30ABC7}"/>
              </a:ext>
            </a:extLst>
          </p:cNvPr>
          <p:cNvSpPr/>
          <p:nvPr userDrawn="1"/>
        </p:nvSpPr>
        <p:spPr>
          <a:xfrm>
            <a:off x="11046015" y="327074"/>
            <a:ext cx="464355" cy="3974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 b="0" i="0" dirty="0">
              <a:latin typeface="Nunito Sans ExtraLight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352165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eld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38FAA57A-E921-A31D-66C5-46AAEEE929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78B0773E-DA12-E832-02A6-62C0A2C6E2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0618EFBC-DF31-3021-C0A7-425E41A674D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  <p:sp>
        <p:nvSpPr>
          <p:cNvPr id="8" name="Rechthoek 7">
            <a:extLst>
              <a:ext uri="{FF2B5EF4-FFF2-40B4-BE49-F238E27FC236}">
                <a16:creationId xmlns:a16="http://schemas.microsoft.com/office/drawing/2014/main" id="{70757AAC-28A0-1896-19E8-105A91E114E1}"/>
              </a:ext>
            </a:extLst>
          </p:cNvPr>
          <p:cNvSpPr/>
          <p:nvPr userDrawn="1"/>
        </p:nvSpPr>
        <p:spPr>
          <a:xfrm>
            <a:off x="0" y="1"/>
            <a:ext cx="12192000" cy="895453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3D62E622-DCA2-FC17-741F-ED0A963BCBE4}"/>
              </a:ext>
            </a:extLst>
          </p:cNvPr>
          <p:cNvSpPr/>
          <p:nvPr userDrawn="1"/>
        </p:nvSpPr>
        <p:spPr>
          <a:xfrm>
            <a:off x="-12572" y="6546793"/>
            <a:ext cx="12204569" cy="316458"/>
          </a:xfrm>
          <a:prstGeom prst="rect">
            <a:avLst/>
          </a:pr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pSp>
        <p:nvGrpSpPr>
          <p:cNvPr id="11" name="Groep 10">
            <a:extLst>
              <a:ext uri="{FF2B5EF4-FFF2-40B4-BE49-F238E27FC236}">
                <a16:creationId xmlns:a16="http://schemas.microsoft.com/office/drawing/2014/main" id="{95B1C276-C89A-D80F-11C5-03D45DB73117}"/>
              </a:ext>
            </a:extLst>
          </p:cNvPr>
          <p:cNvGrpSpPr/>
          <p:nvPr userDrawn="1"/>
        </p:nvGrpSpPr>
        <p:grpSpPr>
          <a:xfrm>
            <a:off x="10349008" y="304800"/>
            <a:ext cx="1283457" cy="427536"/>
            <a:chOff x="216620" y="3284504"/>
            <a:chExt cx="5991069" cy="1995703"/>
          </a:xfrm>
          <a:solidFill>
            <a:srgbClr val="AA8FC2"/>
          </a:solidFill>
        </p:grpSpPr>
        <p:grpSp>
          <p:nvGrpSpPr>
            <p:cNvPr id="12" name="Graphic 2">
              <a:extLst>
                <a:ext uri="{FF2B5EF4-FFF2-40B4-BE49-F238E27FC236}">
                  <a16:creationId xmlns:a16="http://schemas.microsoft.com/office/drawing/2014/main" id="{EB7CA6FA-3157-E50B-7AB3-4B1446714383}"/>
                </a:ext>
              </a:extLst>
            </p:cNvPr>
            <p:cNvGrpSpPr/>
            <p:nvPr/>
          </p:nvGrpSpPr>
          <p:grpSpPr>
            <a:xfrm>
              <a:off x="477994" y="3284504"/>
              <a:ext cx="5729695" cy="970554"/>
              <a:chOff x="477994" y="3284504"/>
              <a:chExt cx="5729695" cy="970554"/>
            </a:xfrm>
            <a:grpFill/>
          </p:grpSpPr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D1FB865B-395D-4AB3-F3AB-0168FD68EFD9}"/>
                  </a:ext>
                </a:extLst>
              </p:cNvPr>
              <p:cNvSpPr/>
              <p:nvPr/>
            </p:nvSpPr>
            <p:spPr>
              <a:xfrm>
                <a:off x="477994" y="3284504"/>
                <a:ext cx="1104206" cy="970554"/>
              </a:xfrm>
              <a:custGeom>
                <a:avLst/>
                <a:gdLst>
                  <a:gd name="connsiteX0" fmla="*/ 1104207 w 1104206"/>
                  <a:gd name="connsiteY0" fmla="*/ 646593 h 970554"/>
                  <a:gd name="connsiteX1" fmla="*/ 590591 w 1104206"/>
                  <a:gd name="connsiteY1" fmla="*/ 970555 h 970554"/>
                  <a:gd name="connsiteX2" fmla="*/ 0 w 1104206"/>
                  <a:gd name="connsiteY2" fmla="*/ 797560 h 970554"/>
                  <a:gd name="connsiteX3" fmla="*/ 157757 w 1104206"/>
                  <a:gd name="connsiteY3" fmla="*/ 615450 h 970554"/>
                  <a:gd name="connsiteX4" fmla="*/ 595824 w 1104206"/>
                  <a:gd name="connsiteY4" fmla="*/ 746858 h 970554"/>
                  <a:gd name="connsiteX5" fmla="*/ 790119 w 1104206"/>
                  <a:gd name="connsiteY5" fmla="*/ 679255 h 970554"/>
                  <a:gd name="connsiteX6" fmla="*/ 568517 w 1104206"/>
                  <a:gd name="connsiteY6" fmla="*/ 605101 h 970554"/>
                  <a:gd name="connsiteX7" fmla="*/ 39201 w 1104206"/>
                  <a:gd name="connsiteY7" fmla="*/ 308485 h 970554"/>
                  <a:gd name="connsiteX8" fmla="*/ 552722 w 1104206"/>
                  <a:gd name="connsiteY8" fmla="*/ 0 h 970554"/>
                  <a:gd name="connsiteX9" fmla="*/ 1065100 w 1104206"/>
                  <a:gd name="connsiteY9" fmla="*/ 131408 h 970554"/>
                  <a:gd name="connsiteX10" fmla="*/ 913813 w 1104206"/>
                  <a:gd name="connsiteY10" fmla="*/ 316176 h 970554"/>
                  <a:gd name="connsiteX11" fmla="*/ 552722 w 1104206"/>
                  <a:gd name="connsiteY11" fmla="*/ 221228 h 970554"/>
                  <a:gd name="connsiteX12" fmla="*/ 353289 w 1104206"/>
                  <a:gd name="connsiteY12" fmla="*/ 282374 h 970554"/>
                  <a:gd name="connsiteX13" fmla="*/ 582789 w 1104206"/>
                  <a:gd name="connsiteY13" fmla="*/ 347508 h 970554"/>
                  <a:gd name="connsiteX14" fmla="*/ 1104207 w 1104206"/>
                  <a:gd name="connsiteY14" fmla="*/ 64668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206" h="970554">
                    <a:moveTo>
                      <a:pt x="1104207" y="646593"/>
                    </a:moveTo>
                    <a:cubicBezTo>
                      <a:pt x="1104207" y="843040"/>
                      <a:pt x="928181" y="970555"/>
                      <a:pt x="590591" y="970555"/>
                    </a:cubicBezTo>
                    <a:cubicBezTo>
                      <a:pt x="353194" y="970555"/>
                      <a:pt x="147291" y="908079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858"/>
                      <a:pt x="595824" y="746858"/>
                    </a:cubicBezTo>
                    <a:cubicBezTo>
                      <a:pt x="726179" y="746858"/>
                      <a:pt x="790119" y="724735"/>
                      <a:pt x="790119" y="679255"/>
                    </a:cubicBezTo>
                    <a:cubicBezTo>
                      <a:pt x="790119" y="633775"/>
                      <a:pt x="737882" y="619438"/>
                      <a:pt x="568517" y="605101"/>
                    </a:cubicBezTo>
                    <a:cubicBezTo>
                      <a:pt x="288207" y="580320"/>
                      <a:pt x="39201" y="516610"/>
                      <a:pt x="39201" y="308485"/>
                    </a:cubicBezTo>
                    <a:cubicBezTo>
                      <a:pt x="39201" y="100360"/>
                      <a:pt x="256808" y="0"/>
                      <a:pt x="552722" y="0"/>
                    </a:cubicBezTo>
                    <a:cubicBezTo>
                      <a:pt x="744447" y="0"/>
                      <a:pt x="933509" y="44246"/>
                      <a:pt x="1065100" y="131408"/>
                    </a:cubicBezTo>
                    <a:lnTo>
                      <a:pt x="913813" y="316176"/>
                    </a:lnTo>
                    <a:cubicBezTo>
                      <a:pt x="810862" y="248573"/>
                      <a:pt x="689641" y="221228"/>
                      <a:pt x="552722" y="221228"/>
                    </a:cubicBezTo>
                    <a:cubicBezTo>
                      <a:pt x="460142" y="221228"/>
                      <a:pt x="353289" y="232907"/>
                      <a:pt x="353289" y="282374"/>
                    </a:cubicBezTo>
                    <a:cubicBezTo>
                      <a:pt x="353289" y="326620"/>
                      <a:pt x="435498" y="335735"/>
                      <a:pt x="582789" y="347508"/>
                    </a:cubicBezTo>
                    <a:cubicBezTo>
                      <a:pt x="887837" y="372195"/>
                      <a:pt x="1104207" y="430777"/>
                      <a:pt x="1104207" y="64668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1C322801-9480-7065-1B3D-0B2A7C7EEF1E}"/>
                  </a:ext>
                </a:extLst>
              </p:cNvPr>
              <p:cNvSpPr/>
              <p:nvPr/>
            </p:nvSpPr>
            <p:spPr>
              <a:xfrm>
                <a:off x="1618167" y="3314412"/>
                <a:ext cx="1039029" cy="910642"/>
              </a:xfrm>
              <a:custGeom>
                <a:avLst/>
                <a:gdLst>
                  <a:gd name="connsiteX0" fmla="*/ 1038934 w 1039029"/>
                  <a:gd name="connsiteY0" fmla="*/ 240692 h 910642"/>
                  <a:gd name="connsiteX1" fmla="*/ 677843 w 1039029"/>
                  <a:gd name="connsiteY1" fmla="*/ 240692 h 910642"/>
                  <a:gd name="connsiteX2" fmla="*/ 677843 w 1039029"/>
                  <a:gd name="connsiteY2" fmla="*/ 910643 h 910642"/>
                  <a:gd name="connsiteX3" fmla="*/ 359854 w 1039029"/>
                  <a:gd name="connsiteY3" fmla="*/ 910643 h 910642"/>
                  <a:gd name="connsiteX4" fmla="*/ 359854 w 1039029"/>
                  <a:gd name="connsiteY4" fmla="*/ 240692 h 910642"/>
                  <a:gd name="connsiteX5" fmla="*/ 0 w 1039029"/>
                  <a:gd name="connsiteY5" fmla="*/ 240692 h 910642"/>
                  <a:gd name="connsiteX6" fmla="*/ 0 w 1039029"/>
                  <a:gd name="connsiteY6" fmla="*/ 0 h 910642"/>
                  <a:gd name="connsiteX7" fmla="*/ 1039029 w 1039029"/>
                  <a:gd name="connsiteY7" fmla="*/ 0 h 910642"/>
                  <a:gd name="connsiteX8" fmla="*/ 1039029 w 1039029"/>
                  <a:gd name="connsiteY8" fmla="*/ 240692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029" h="910642">
                    <a:moveTo>
                      <a:pt x="1038934" y="240692"/>
                    </a:moveTo>
                    <a:lnTo>
                      <a:pt x="677843" y="240692"/>
                    </a:lnTo>
                    <a:lnTo>
                      <a:pt x="677843" y="910643"/>
                    </a:lnTo>
                    <a:lnTo>
                      <a:pt x="359854" y="910643"/>
                    </a:lnTo>
                    <a:lnTo>
                      <a:pt x="359854" y="240692"/>
                    </a:lnTo>
                    <a:lnTo>
                      <a:pt x="0" y="240692"/>
                    </a:lnTo>
                    <a:lnTo>
                      <a:pt x="0" y="0"/>
                    </a:lnTo>
                    <a:lnTo>
                      <a:pt x="1039029" y="0"/>
                    </a:lnTo>
                    <a:lnTo>
                      <a:pt x="1039029" y="240692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0" name="Vrije vorm 19">
                <a:extLst>
                  <a:ext uri="{FF2B5EF4-FFF2-40B4-BE49-F238E27FC236}">
                    <a16:creationId xmlns:a16="http://schemas.microsoft.com/office/drawing/2014/main" id="{4DCD4E40-4E4E-589F-0F18-1204C35210EC}"/>
                  </a:ext>
                </a:extLst>
              </p:cNvPr>
              <p:cNvSpPr/>
              <p:nvPr/>
            </p:nvSpPr>
            <p:spPr>
              <a:xfrm>
                <a:off x="2778893" y="3314412"/>
                <a:ext cx="1091171" cy="940646"/>
              </a:xfrm>
              <a:custGeom>
                <a:avLst/>
                <a:gdLst>
                  <a:gd name="connsiteX0" fmla="*/ 1091171 w 1091171"/>
                  <a:gd name="connsiteY0" fmla="*/ 0 h 940646"/>
                  <a:gd name="connsiteX1" fmla="*/ 1091171 w 1091171"/>
                  <a:gd name="connsiteY1" fmla="*/ 481384 h 940646"/>
                  <a:gd name="connsiteX2" fmla="*/ 546252 w 1091171"/>
                  <a:gd name="connsiteY2" fmla="*/ 940646 h 940646"/>
                  <a:gd name="connsiteX3" fmla="*/ 0 w 1091171"/>
                  <a:gd name="connsiteY3" fmla="*/ 481384 h 940646"/>
                  <a:gd name="connsiteX4" fmla="*/ 0 w 1091171"/>
                  <a:gd name="connsiteY4" fmla="*/ 0 h 940646"/>
                  <a:gd name="connsiteX5" fmla="*/ 317989 w 1091171"/>
                  <a:gd name="connsiteY5" fmla="*/ 0 h 940646"/>
                  <a:gd name="connsiteX6" fmla="*/ 317989 w 1091171"/>
                  <a:gd name="connsiteY6" fmla="*/ 456698 h 940646"/>
                  <a:gd name="connsiteX7" fmla="*/ 546252 w 1091171"/>
                  <a:gd name="connsiteY7" fmla="*/ 689510 h 940646"/>
                  <a:gd name="connsiteX8" fmla="*/ 773087 w 1091171"/>
                  <a:gd name="connsiteY8" fmla="*/ 456698 h 940646"/>
                  <a:gd name="connsiteX9" fmla="*/ 773087 w 1091171"/>
                  <a:gd name="connsiteY9" fmla="*/ 0 h 940646"/>
                  <a:gd name="connsiteX10" fmla="*/ 1091076 w 1091171"/>
                  <a:gd name="connsiteY10" fmla="*/ 0 h 94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171" h="940646">
                    <a:moveTo>
                      <a:pt x="1091171" y="0"/>
                    </a:moveTo>
                    <a:lnTo>
                      <a:pt x="1091171" y="481384"/>
                    </a:lnTo>
                    <a:cubicBezTo>
                      <a:pt x="1091171" y="762429"/>
                      <a:pt x="895640" y="940646"/>
                      <a:pt x="546252" y="940646"/>
                    </a:cubicBezTo>
                    <a:cubicBezTo>
                      <a:pt x="196864" y="940646"/>
                      <a:pt x="0" y="762429"/>
                      <a:pt x="0" y="481384"/>
                    </a:cubicBezTo>
                    <a:lnTo>
                      <a:pt x="0" y="0"/>
                    </a:lnTo>
                    <a:lnTo>
                      <a:pt x="317989" y="0"/>
                    </a:lnTo>
                    <a:lnTo>
                      <a:pt x="317989" y="456698"/>
                    </a:lnTo>
                    <a:cubicBezTo>
                      <a:pt x="317989" y="591998"/>
                      <a:pt x="388494" y="689510"/>
                      <a:pt x="546252" y="689510"/>
                    </a:cubicBezTo>
                    <a:cubicBezTo>
                      <a:pt x="704009" y="689510"/>
                      <a:pt x="773087" y="591903"/>
                      <a:pt x="773087" y="456698"/>
                    </a:cubicBezTo>
                    <a:lnTo>
                      <a:pt x="773087" y="0"/>
                    </a:lnTo>
                    <a:lnTo>
                      <a:pt x="1091076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3A0F9D93-9E6F-3F4D-C178-2EC2E1ED0152}"/>
                  </a:ext>
                </a:extLst>
              </p:cNvPr>
              <p:cNvSpPr/>
              <p:nvPr/>
            </p:nvSpPr>
            <p:spPr>
              <a:xfrm>
                <a:off x="4018116" y="3314412"/>
                <a:ext cx="1113340" cy="910737"/>
              </a:xfrm>
              <a:custGeom>
                <a:avLst/>
                <a:gdLst>
                  <a:gd name="connsiteX0" fmla="*/ 1113341 w 1113340"/>
                  <a:gd name="connsiteY0" fmla="*/ 455369 h 910737"/>
                  <a:gd name="connsiteX1" fmla="*/ 531979 w 1113340"/>
                  <a:gd name="connsiteY1" fmla="*/ 910738 h 910737"/>
                  <a:gd name="connsiteX2" fmla="*/ 0 w 1113340"/>
                  <a:gd name="connsiteY2" fmla="*/ 910738 h 910737"/>
                  <a:gd name="connsiteX3" fmla="*/ 0 w 1113340"/>
                  <a:gd name="connsiteY3" fmla="*/ 0 h 910737"/>
                  <a:gd name="connsiteX4" fmla="*/ 531979 w 1113340"/>
                  <a:gd name="connsiteY4" fmla="*/ 0 h 910737"/>
                  <a:gd name="connsiteX5" fmla="*/ 1113341 w 1113340"/>
                  <a:gd name="connsiteY5" fmla="*/ 455369 h 910737"/>
                  <a:gd name="connsiteX6" fmla="*/ 788692 w 1113340"/>
                  <a:gd name="connsiteY6" fmla="*/ 455369 h 910737"/>
                  <a:gd name="connsiteX7" fmla="*/ 505813 w 1113340"/>
                  <a:gd name="connsiteY7" fmla="*/ 242021 h 910737"/>
                  <a:gd name="connsiteX8" fmla="*/ 318179 w 1113340"/>
                  <a:gd name="connsiteY8" fmla="*/ 242021 h 910737"/>
                  <a:gd name="connsiteX9" fmla="*/ 318179 w 1113340"/>
                  <a:gd name="connsiteY9" fmla="*/ 668716 h 910737"/>
                  <a:gd name="connsiteX10" fmla="*/ 505813 w 1113340"/>
                  <a:gd name="connsiteY10" fmla="*/ 668716 h 910737"/>
                  <a:gd name="connsiteX11" fmla="*/ 788692 w 1113340"/>
                  <a:gd name="connsiteY11" fmla="*/ 455369 h 91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3340" h="910737">
                    <a:moveTo>
                      <a:pt x="1113341" y="455369"/>
                    </a:moveTo>
                    <a:cubicBezTo>
                      <a:pt x="1113341" y="742870"/>
                      <a:pt x="886505" y="910738"/>
                      <a:pt x="531979" y="910738"/>
                    </a:cubicBezTo>
                    <a:lnTo>
                      <a:pt x="0" y="910738"/>
                    </a:lnTo>
                    <a:lnTo>
                      <a:pt x="0" y="0"/>
                    </a:lnTo>
                    <a:lnTo>
                      <a:pt x="531979" y="0"/>
                    </a:lnTo>
                    <a:cubicBezTo>
                      <a:pt x="886505" y="0"/>
                      <a:pt x="1113341" y="166538"/>
                      <a:pt x="1113341" y="455369"/>
                    </a:cubicBezTo>
                    <a:close/>
                    <a:moveTo>
                      <a:pt x="788692" y="455369"/>
                    </a:moveTo>
                    <a:cubicBezTo>
                      <a:pt x="788692" y="317505"/>
                      <a:pt x="680507" y="242021"/>
                      <a:pt x="505813" y="242021"/>
                    </a:cubicBezTo>
                    <a:lnTo>
                      <a:pt x="318179" y="242021"/>
                    </a:lnTo>
                    <a:lnTo>
                      <a:pt x="318179" y="668716"/>
                    </a:lnTo>
                    <a:lnTo>
                      <a:pt x="505813" y="668716"/>
                    </a:lnTo>
                    <a:cubicBezTo>
                      <a:pt x="680507" y="668716"/>
                      <a:pt x="788692" y="593328"/>
                      <a:pt x="788692" y="455369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2" name="Vrije vorm 21">
                <a:extLst>
                  <a:ext uri="{FF2B5EF4-FFF2-40B4-BE49-F238E27FC236}">
                    <a16:creationId xmlns:a16="http://schemas.microsoft.com/office/drawing/2014/main" id="{777510F1-4D03-66E7-F6EA-340A16CD0CF0}"/>
                  </a:ext>
                </a:extLst>
              </p:cNvPr>
              <p:cNvSpPr/>
              <p:nvPr/>
            </p:nvSpPr>
            <p:spPr>
              <a:xfrm>
                <a:off x="5052578" y="3314412"/>
                <a:ext cx="1155111" cy="910642"/>
              </a:xfrm>
              <a:custGeom>
                <a:avLst/>
                <a:gdLst>
                  <a:gd name="connsiteX0" fmla="*/ 350720 w 1155111"/>
                  <a:gd name="connsiteY0" fmla="*/ 0 h 910642"/>
                  <a:gd name="connsiteX1" fmla="*/ 578888 w 1155111"/>
                  <a:gd name="connsiteY1" fmla="*/ 361656 h 910642"/>
                  <a:gd name="connsiteX2" fmla="*/ 805723 w 1155111"/>
                  <a:gd name="connsiteY2" fmla="*/ 0 h 910642"/>
                  <a:gd name="connsiteX3" fmla="*/ 1155112 w 1155111"/>
                  <a:gd name="connsiteY3" fmla="*/ 0 h 910642"/>
                  <a:gd name="connsiteX4" fmla="*/ 736645 w 1155111"/>
                  <a:gd name="connsiteY4" fmla="*/ 607570 h 910642"/>
                  <a:gd name="connsiteX5" fmla="*/ 736645 w 1155111"/>
                  <a:gd name="connsiteY5" fmla="*/ 910643 h 910642"/>
                  <a:gd name="connsiteX6" fmla="*/ 418466 w 1155111"/>
                  <a:gd name="connsiteY6" fmla="*/ 910643 h 910642"/>
                  <a:gd name="connsiteX7" fmla="*/ 418466 w 1155111"/>
                  <a:gd name="connsiteY7" fmla="*/ 607570 h 910642"/>
                  <a:gd name="connsiteX8" fmla="*/ 0 w 1155111"/>
                  <a:gd name="connsiteY8" fmla="*/ 0 h 910642"/>
                  <a:gd name="connsiteX9" fmla="*/ 350720 w 1155111"/>
                  <a:gd name="connsiteY9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5111" h="910642">
                    <a:moveTo>
                      <a:pt x="350720" y="0"/>
                    </a:moveTo>
                    <a:lnTo>
                      <a:pt x="578888" y="361656"/>
                    </a:lnTo>
                    <a:lnTo>
                      <a:pt x="805723" y="0"/>
                    </a:lnTo>
                    <a:lnTo>
                      <a:pt x="1155112" y="0"/>
                    </a:lnTo>
                    <a:lnTo>
                      <a:pt x="736645" y="607570"/>
                    </a:lnTo>
                    <a:lnTo>
                      <a:pt x="736645" y="910643"/>
                    </a:lnTo>
                    <a:lnTo>
                      <a:pt x="418466" y="910643"/>
                    </a:lnTo>
                    <a:lnTo>
                      <a:pt x="418466" y="607570"/>
                    </a:lnTo>
                    <a:lnTo>
                      <a:pt x="0" y="0"/>
                    </a:lnTo>
                    <a:lnTo>
                      <a:pt x="350720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13" name="Graphic 2">
              <a:extLst>
                <a:ext uri="{FF2B5EF4-FFF2-40B4-BE49-F238E27FC236}">
                  <a16:creationId xmlns:a16="http://schemas.microsoft.com/office/drawing/2014/main" id="{C8E60236-23E2-3D5B-0C5D-EA3D475D359C}"/>
                </a:ext>
              </a:extLst>
            </p:cNvPr>
            <p:cNvGrpSpPr/>
            <p:nvPr/>
          </p:nvGrpSpPr>
          <p:grpSpPr>
            <a:xfrm>
              <a:off x="216620" y="4309653"/>
              <a:ext cx="4438329" cy="970554"/>
              <a:chOff x="216620" y="4309653"/>
              <a:chExt cx="4438329" cy="970554"/>
            </a:xfrm>
            <a:grpFill/>
          </p:grpSpPr>
          <p:sp>
            <p:nvSpPr>
              <p:cNvPr id="14" name="Vrije vorm 13">
                <a:extLst>
                  <a:ext uri="{FF2B5EF4-FFF2-40B4-BE49-F238E27FC236}">
                    <a16:creationId xmlns:a16="http://schemas.microsoft.com/office/drawing/2014/main" id="{CD337F57-6131-AE17-407F-024B187DE94B}"/>
                  </a:ext>
                </a:extLst>
              </p:cNvPr>
              <p:cNvSpPr/>
              <p:nvPr/>
            </p:nvSpPr>
            <p:spPr>
              <a:xfrm>
                <a:off x="216620" y="4339656"/>
                <a:ext cx="1662256" cy="910642"/>
              </a:xfrm>
              <a:custGeom>
                <a:avLst/>
                <a:gdLst>
                  <a:gd name="connsiteX0" fmla="*/ 1662162 w 1662256"/>
                  <a:gd name="connsiteY0" fmla="*/ 0 h 910642"/>
                  <a:gd name="connsiteX1" fmla="*/ 1329710 w 1662256"/>
                  <a:gd name="connsiteY1" fmla="*/ 910643 h 910642"/>
                  <a:gd name="connsiteX2" fmla="*/ 1018192 w 1662256"/>
                  <a:gd name="connsiteY2" fmla="*/ 910643 h 910642"/>
                  <a:gd name="connsiteX3" fmla="*/ 831794 w 1662256"/>
                  <a:gd name="connsiteY3" fmla="*/ 326525 h 910642"/>
                  <a:gd name="connsiteX4" fmla="*/ 644065 w 1662256"/>
                  <a:gd name="connsiteY4" fmla="*/ 910643 h 910642"/>
                  <a:gd name="connsiteX5" fmla="*/ 332451 w 1662256"/>
                  <a:gd name="connsiteY5" fmla="*/ 910643 h 910642"/>
                  <a:gd name="connsiteX6" fmla="*/ 0 w 1662256"/>
                  <a:gd name="connsiteY6" fmla="*/ 0 h 910642"/>
                  <a:gd name="connsiteX7" fmla="*/ 319416 w 1662256"/>
                  <a:gd name="connsiteY7" fmla="*/ 0 h 910642"/>
                  <a:gd name="connsiteX8" fmla="*/ 496679 w 1662256"/>
                  <a:gd name="connsiteY8" fmla="*/ 582788 h 910642"/>
                  <a:gd name="connsiteX9" fmla="*/ 690974 w 1662256"/>
                  <a:gd name="connsiteY9" fmla="*/ 0 h 910642"/>
                  <a:gd name="connsiteX10" fmla="*/ 976516 w 1662256"/>
                  <a:gd name="connsiteY10" fmla="*/ 0 h 910642"/>
                  <a:gd name="connsiteX11" fmla="*/ 1170811 w 1662256"/>
                  <a:gd name="connsiteY11" fmla="*/ 582788 h 910642"/>
                  <a:gd name="connsiteX12" fmla="*/ 1348074 w 1662256"/>
                  <a:gd name="connsiteY12" fmla="*/ 0 h 910642"/>
                  <a:gd name="connsiteX13" fmla="*/ 1662257 w 1662256"/>
                  <a:gd name="connsiteY13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2256" h="910642">
                    <a:moveTo>
                      <a:pt x="1662162" y="0"/>
                    </a:moveTo>
                    <a:lnTo>
                      <a:pt x="1329710" y="910643"/>
                    </a:lnTo>
                    <a:lnTo>
                      <a:pt x="1018192" y="910643"/>
                    </a:lnTo>
                    <a:lnTo>
                      <a:pt x="831794" y="326525"/>
                    </a:lnTo>
                    <a:lnTo>
                      <a:pt x="644065" y="910643"/>
                    </a:lnTo>
                    <a:lnTo>
                      <a:pt x="332451" y="910643"/>
                    </a:lnTo>
                    <a:lnTo>
                      <a:pt x="0" y="0"/>
                    </a:lnTo>
                    <a:lnTo>
                      <a:pt x="319416" y="0"/>
                    </a:lnTo>
                    <a:lnTo>
                      <a:pt x="496679" y="582788"/>
                    </a:lnTo>
                    <a:lnTo>
                      <a:pt x="690974" y="0"/>
                    </a:lnTo>
                    <a:lnTo>
                      <a:pt x="976516" y="0"/>
                    </a:lnTo>
                    <a:lnTo>
                      <a:pt x="1170811" y="582788"/>
                    </a:lnTo>
                    <a:lnTo>
                      <a:pt x="1348074" y="0"/>
                    </a:lnTo>
                    <a:lnTo>
                      <a:pt x="1662257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5" name="Vrije vorm 14">
                <a:extLst>
                  <a:ext uri="{FF2B5EF4-FFF2-40B4-BE49-F238E27FC236}">
                    <a16:creationId xmlns:a16="http://schemas.microsoft.com/office/drawing/2014/main" id="{6AF3095D-49EB-804A-4BD2-5E8B22F0298C}"/>
                  </a:ext>
                </a:extLst>
              </p:cNvPr>
              <p:cNvSpPr/>
              <p:nvPr/>
            </p:nvSpPr>
            <p:spPr>
              <a:xfrm>
                <a:off x="1977451" y="4339656"/>
                <a:ext cx="318178" cy="910642"/>
              </a:xfrm>
              <a:custGeom>
                <a:avLst/>
                <a:gdLst>
                  <a:gd name="connsiteX0" fmla="*/ 0 w 318178"/>
                  <a:gd name="connsiteY0" fmla="*/ 910643 h 910642"/>
                  <a:gd name="connsiteX1" fmla="*/ 0 w 318178"/>
                  <a:gd name="connsiteY1" fmla="*/ 0 h 910642"/>
                  <a:gd name="connsiteX2" fmla="*/ 318179 w 318178"/>
                  <a:gd name="connsiteY2" fmla="*/ 0 h 910642"/>
                  <a:gd name="connsiteX3" fmla="*/ 318179 w 318178"/>
                  <a:gd name="connsiteY3" fmla="*/ 910643 h 910642"/>
                  <a:gd name="connsiteX4" fmla="*/ 0 w 318178"/>
                  <a:gd name="connsiteY4" fmla="*/ 910643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78" h="910642">
                    <a:moveTo>
                      <a:pt x="0" y="910643"/>
                    </a:moveTo>
                    <a:lnTo>
                      <a:pt x="0" y="0"/>
                    </a:lnTo>
                    <a:lnTo>
                      <a:pt x="318179" y="0"/>
                    </a:lnTo>
                    <a:lnTo>
                      <a:pt x="318179" y="910643"/>
                    </a:lnTo>
                    <a:lnTo>
                      <a:pt x="0" y="910643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6" name="Vrije vorm 15">
                <a:extLst>
                  <a:ext uri="{FF2B5EF4-FFF2-40B4-BE49-F238E27FC236}">
                    <a16:creationId xmlns:a16="http://schemas.microsoft.com/office/drawing/2014/main" id="{16112BBF-521F-F9C5-C06C-F7CE358C6A92}"/>
                  </a:ext>
                </a:extLst>
              </p:cNvPr>
              <p:cNvSpPr/>
              <p:nvPr/>
            </p:nvSpPr>
            <p:spPr>
              <a:xfrm>
                <a:off x="2414471" y="4309653"/>
                <a:ext cx="1104492" cy="970554"/>
              </a:xfrm>
              <a:custGeom>
                <a:avLst/>
                <a:gdLst>
                  <a:gd name="connsiteX0" fmla="*/ 1104302 w 1104492"/>
                  <a:gd name="connsiteY0" fmla="*/ 646593 h 970554"/>
                  <a:gd name="connsiteX1" fmla="*/ 590591 w 1104492"/>
                  <a:gd name="connsiteY1" fmla="*/ 970555 h 970554"/>
                  <a:gd name="connsiteX2" fmla="*/ 0 w 1104492"/>
                  <a:gd name="connsiteY2" fmla="*/ 797560 h 970554"/>
                  <a:gd name="connsiteX3" fmla="*/ 157757 w 1104492"/>
                  <a:gd name="connsiteY3" fmla="*/ 615450 h 970554"/>
                  <a:gd name="connsiteX4" fmla="*/ 595824 w 1104492"/>
                  <a:gd name="connsiteY4" fmla="*/ 746763 h 970554"/>
                  <a:gd name="connsiteX5" fmla="*/ 790119 w 1104492"/>
                  <a:gd name="connsiteY5" fmla="*/ 679065 h 970554"/>
                  <a:gd name="connsiteX6" fmla="*/ 568516 w 1104492"/>
                  <a:gd name="connsiteY6" fmla="*/ 604911 h 970554"/>
                  <a:gd name="connsiteX7" fmla="*/ 39201 w 1104492"/>
                  <a:gd name="connsiteY7" fmla="*/ 308295 h 970554"/>
                  <a:gd name="connsiteX8" fmla="*/ 552912 w 1104492"/>
                  <a:gd name="connsiteY8" fmla="*/ 0 h 970554"/>
                  <a:gd name="connsiteX9" fmla="*/ 1065291 w 1104492"/>
                  <a:gd name="connsiteY9" fmla="*/ 131313 h 970554"/>
                  <a:gd name="connsiteX10" fmla="*/ 914098 w 1104492"/>
                  <a:gd name="connsiteY10" fmla="*/ 316081 h 970554"/>
                  <a:gd name="connsiteX11" fmla="*/ 553007 w 1104492"/>
                  <a:gd name="connsiteY11" fmla="*/ 221038 h 970554"/>
                  <a:gd name="connsiteX12" fmla="*/ 353574 w 1104492"/>
                  <a:gd name="connsiteY12" fmla="*/ 282279 h 970554"/>
                  <a:gd name="connsiteX13" fmla="*/ 582979 w 1104492"/>
                  <a:gd name="connsiteY13" fmla="*/ 347318 h 970554"/>
                  <a:gd name="connsiteX14" fmla="*/ 1104492 w 1104492"/>
                  <a:gd name="connsiteY14" fmla="*/ 64649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492" h="970554">
                    <a:moveTo>
                      <a:pt x="1104302" y="646593"/>
                    </a:moveTo>
                    <a:cubicBezTo>
                      <a:pt x="1104302" y="843135"/>
                      <a:pt x="928276" y="970555"/>
                      <a:pt x="590591" y="970555"/>
                    </a:cubicBezTo>
                    <a:cubicBezTo>
                      <a:pt x="353384" y="970555"/>
                      <a:pt x="147386" y="908174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763"/>
                      <a:pt x="595824" y="746763"/>
                    </a:cubicBezTo>
                    <a:cubicBezTo>
                      <a:pt x="726274" y="746763"/>
                      <a:pt x="790119" y="724640"/>
                      <a:pt x="790119" y="679065"/>
                    </a:cubicBezTo>
                    <a:cubicBezTo>
                      <a:pt x="790119" y="633491"/>
                      <a:pt x="737977" y="619343"/>
                      <a:pt x="568516" y="604911"/>
                    </a:cubicBezTo>
                    <a:cubicBezTo>
                      <a:pt x="288302" y="580225"/>
                      <a:pt x="39201" y="516420"/>
                      <a:pt x="39201" y="308295"/>
                    </a:cubicBezTo>
                    <a:cubicBezTo>
                      <a:pt x="39201" y="100170"/>
                      <a:pt x="256903" y="0"/>
                      <a:pt x="552912" y="0"/>
                    </a:cubicBezTo>
                    <a:cubicBezTo>
                      <a:pt x="744542" y="0"/>
                      <a:pt x="933604" y="44151"/>
                      <a:pt x="1065291" y="131313"/>
                    </a:cubicBezTo>
                    <a:lnTo>
                      <a:pt x="914098" y="316081"/>
                    </a:lnTo>
                    <a:cubicBezTo>
                      <a:pt x="811052" y="248383"/>
                      <a:pt x="689832" y="221038"/>
                      <a:pt x="553007" y="221038"/>
                    </a:cubicBezTo>
                    <a:cubicBezTo>
                      <a:pt x="460427" y="221038"/>
                      <a:pt x="353574" y="232812"/>
                      <a:pt x="353574" y="282279"/>
                    </a:cubicBezTo>
                    <a:cubicBezTo>
                      <a:pt x="353574" y="326430"/>
                      <a:pt x="435688" y="335545"/>
                      <a:pt x="582979" y="347318"/>
                    </a:cubicBezTo>
                    <a:cubicBezTo>
                      <a:pt x="888028" y="372005"/>
                      <a:pt x="1104492" y="430588"/>
                      <a:pt x="1104492" y="64649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7" name="Vrije vorm 16">
                <a:extLst>
                  <a:ext uri="{FF2B5EF4-FFF2-40B4-BE49-F238E27FC236}">
                    <a16:creationId xmlns:a16="http://schemas.microsoft.com/office/drawing/2014/main" id="{9CEE7A33-9286-FFA9-AC30-117527430257}"/>
                  </a:ext>
                </a:extLst>
              </p:cNvPr>
              <p:cNvSpPr/>
              <p:nvPr/>
            </p:nvSpPr>
            <p:spPr>
              <a:xfrm>
                <a:off x="3652362" y="4339656"/>
                <a:ext cx="1002587" cy="910642"/>
              </a:xfrm>
              <a:custGeom>
                <a:avLst/>
                <a:gdLst>
                  <a:gd name="connsiteX0" fmla="*/ 1002492 w 1002587"/>
                  <a:gd name="connsiteY0" fmla="*/ 681629 h 910642"/>
                  <a:gd name="connsiteX1" fmla="*/ 1002492 w 1002587"/>
                  <a:gd name="connsiteY1" fmla="*/ 910643 h 910642"/>
                  <a:gd name="connsiteX2" fmla="*/ 0 w 1002587"/>
                  <a:gd name="connsiteY2" fmla="*/ 910643 h 910642"/>
                  <a:gd name="connsiteX3" fmla="*/ 0 w 1002587"/>
                  <a:gd name="connsiteY3" fmla="*/ 0 h 910642"/>
                  <a:gd name="connsiteX4" fmla="*/ 988220 w 1002587"/>
                  <a:gd name="connsiteY4" fmla="*/ 0 h 910642"/>
                  <a:gd name="connsiteX5" fmla="*/ 988220 w 1002587"/>
                  <a:gd name="connsiteY5" fmla="*/ 229014 h 910642"/>
                  <a:gd name="connsiteX6" fmla="*/ 311614 w 1002587"/>
                  <a:gd name="connsiteY6" fmla="*/ 229014 h 910642"/>
                  <a:gd name="connsiteX7" fmla="*/ 311614 w 1002587"/>
                  <a:gd name="connsiteY7" fmla="*/ 344755 h 910642"/>
                  <a:gd name="connsiteX8" fmla="*/ 863098 w 1002587"/>
                  <a:gd name="connsiteY8" fmla="*/ 344755 h 910642"/>
                  <a:gd name="connsiteX9" fmla="*/ 863098 w 1002587"/>
                  <a:gd name="connsiteY9" fmla="*/ 555444 h 910642"/>
                  <a:gd name="connsiteX10" fmla="*/ 311614 w 1002587"/>
                  <a:gd name="connsiteY10" fmla="*/ 555444 h 910642"/>
                  <a:gd name="connsiteX11" fmla="*/ 311614 w 1002587"/>
                  <a:gd name="connsiteY11" fmla="*/ 681629 h 910642"/>
                  <a:gd name="connsiteX12" fmla="*/ 1002587 w 1002587"/>
                  <a:gd name="connsiteY12" fmla="*/ 681629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2587" h="910642">
                    <a:moveTo>
                      <a:pt x="1002492" y="681629"/>
                    </a:moveTo>
                    <a:lnTo>
                      <a:pt x="1002492" y="910643"/>
                    </a:lnTo>
                    <a:lnTo>
                      <a:pt x="0" y="910643"/>
                    </a:lnTo>
                    <a:lnTo>
                      <a:pt x="0" y="0"/>
                    </a:lnTo>
                    <a:lnTo>
                      <a:pt x="988220" y="0"/>
                    </a:lnTo>
                    <a:lnTo>
                      <a:pt x="988220" y="229014"/>
                    </a:lnTo>
                    <a:lnTo>
                      <a:pt x="311614" y="229014"/>
                    </a:lnTo>
                    <a:lnTo>
                      <a:pt x="311614" y="344755"/>
                    </a:lnTo>
                    <a:lnTo>
                      <a:pt x="863098" y="344755"/>
                    </a:lnTo>
                    <a:lnTo>
                      <a:pt x="863098" y="555444"/>
                    </a:lnTo>
                    <a:lnTo>
                      <a:pt x="311614" y="555444"/>
                    </a:lnTo>
                    <a:lnTo>
                      <a:pt x="311614" y="681629"/>
                    </a:lnTo>
                    <a:lnTo>
                      <a:pt x="1002587" y="681629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sp>
        <p:nvSpPr>
          <p:cNvPr id="23" name="Vrije vorm 22">
            <a:extLst>
              <a:ext uri="{FF2B5EF4-FFF2-40B4-BE49-F238E27FC236}">
                <a16:creationId xmlns:a16="http://schemas.microsoft.com/office/drawing/2014/main" id="{6FC2BFBA-3EFB-AE5D-0FE8-25EF84DD7C1D}"/>
              </a:ext>
            </a:extLst>
          </p:cNvPr>
          <p:cNvSpPr/>
          <p:nvPr userDrawn="1"/>
        </p:nvSpPr>
        <p:spPr>
          <a:xfrm>
            <a:off x="-12573" y="553868"/>
            <a:ext cx="9691449" cy="587441"/>
          </a:xfrm>
          <a:custGeom>
            <a:avLst/>
            <a:gdLst>
              <a:gd name="connsiteX0" fmla="*/ 0 w 9691449"/>
              <a:gd name="connsiteY0" fmla="*/ 0 h 587441"/>
              <a:gd name="connsiteX1" fmla="*/ 250309 w 9691449"/>
              <a:gd name="connsiteY1" fmla="*/ 0 h 587441"/>
              <a:gd name="connsiteX2" fmla="*/ 5460873 w 9691449"/>
              <a:gd name="connsiteY2" fmla="*/ 0 h 587441"/>
              <a:gd name="connsiteX3" fmla="*/ 9441140 w 9691449"/>
              <a:gd name="connsiteY3" fmla="*/ 0 h 587441"/>
              <a:gd name="connsiteX4" fmla="*/ 9691449 w 9691449"/>
              <a:gd name="connsiteY4" fmla="*/ 0 h 587441"/>
              <a:gd name="connsiteX5" fmla="*/ 9691449 w 9691449"/>
              <a:gd name="connsiteY5" fmla="*/ 250309 h 587441"/>
              <a:gd name="connsiteX6" fmla="*/ 9691449 w 9691449"/>
              <a:gd name="connsiteY6" fmla="*/ 293723 h 587441"/>
              <a:gd name="connsiteX7" fmla="*/ 9691449 w 9691449"/>
              <a:gd name="connsiteY7" fmla="*/ 337132 h 587441"/>
              <a:gd name="connsiteX8" fmla="*/ 9441140 w 9691449"/>
              <a:gd name="connsiteY8" fmla="*/ 587441 h 587441"/>
              <a:gd name="connsiteX9" fmla="*/ 5460873 w 9691449"/>
              <a:gd name="connsiteY9" fmla="*/ 587441 h 587441"/>
              <a:gd name="connsiteX10" fmla="*/ 250309 w 9691449"/>
              <a:gd name="connsiteY10" fmla="*/ 587441 h 587441"/>
              <a:gd name="connsiteX11" fmla="*/ 0 w 9691449"/>
              <a:gd name="connsiteY11" fmla="*/ 587441 h 587441"/>
              <a:gd name="connsiteX12" fmla="*/ 0 w 9691449"/>
              <a:gd name="connsiteY12" fmla="*/ 337132 h 587441"/>
              <a:gd name="connsiteX13" fmla="*/ 0 w 9691449"/>
              <a:gd name="connsiteY13" fmla="*/ 293723 h 587441"/>
              <a:gd name="connsiteX14" fmla="*/ 0 w 9691449"/>
              <a:gd name="connsiteY14" fmla="*/ 250309 h 587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9691449" h="587441">
                <a:moveTo>
                  <a:pt x="0" y="0"/>
                </a:moveTo>
                <a:lnTo>
                  <a:pt x="250309" y="0"/>
                </a:lnTo>
                <a:lnTo>
                  <a:pt x="5460873" y="0"/>
                </a:lnTo>
                <a:lnTo>
                  <a:pt x="9441140" y="0"/>
                </a:lnTo>
                <a:lnTo>
                  <a:pt x="9691449" y="0"/>
                </a:lnTo>
                <a:lnTo>
                  <a:pt x="9691449" y="250309"/>
                </a:lnTo>
                <a:lnTo>
                  <a:pt x="9691449" y="293723"/>
                </a:lnTo>
                <a:lnTo>
                  <a:pt x="9691449" y="337132"/>
                </a:lnTo>
                <a:cubicBezTo>
                  <a:pt x="9691449" y="475374"/>
                  <a:pt x="9579382" y="587441"/>
                  <a:pt x="9441140" y="587441"/>
                </a:cubicBezTo>
                <a:lnTo>
                  <a:pt x="5460873" y="587441"/>
                </a:lnTo>
                <a:lnTo>
                  <a:pt x="250309" y="587441"/>
                </a:lnTo>
                <a:lnTo>
                  <a:pt x="0" y="587441"/>
                </a:lnTo>
                <a:lnTo>
                  <a:pt x="0" y="337132"/>
                </a:lnTo>
                <a:lnTo>
                  <a:pt x="0" y="293723"/>
                </a:lnTo>
                <a:lnTo>
                  <a:pt x="0" y="250309"/>
                </a:lnTo>
                <a:close/>
              </a:path>
            </a:pathLst>
          </a:custGeom>
          <a:solidFill>
            <a:srgbClr val="ED8F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542C0264-FD71-4E12-4079-1CF611EE7DD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2573" y="560684"/>
            <a:ext cx="9027435" cy="587441"/>
          </a:xfrm>
        </p:spPr>
        <p:txBody>
          <a:bodyPr lIns="720000" anchor="ctr">
            <a:normAutofit/>
          </a:bodyPr>
          <a:lstStyle>
            <a:lvl1pPr algn="l">
              <a:defRPr sz="2400">
                <a:solidFill>
                  <a:schemeClr val="bg1"/>
                </a:solidFill>
              </a:defRPr>
            </a:lvl1pPr>
          </a:lstStyle>
          <a:p>
            <a:r>
              <a:rPr lang="nl-NL" dirty="0"/>
              <a:t>Klik om stijl te bewerken</a:t>
            </a:r>
          </a:p>
        </p:txBody>
      </p:sp>
      <p:sp>
        <p:nvSpPr>
          <p:cNvPr id="25" name="Tijdelijke aanduiding voor afbeelding 24">
            <a:extLst>
              <a:ext uri="{FF2B5EF4-FFF2-40B4-BE49-F238E27FC236}">
                <a16:creationId xmlns:a16="http://schemas.microsoft.com/office/drawing/2014/main" id="{9D1ECF00-2FEA-0CE1-991C-4C8F91C5B470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534273" y="895454"/>
            <a:ext cx="4657724" cy="5651338"/>
          </a:xfrm>
          <a:custGeom>
            <a:avLst/>
            <a:gdLst>
              <a:gd name="connsiteX0" fmla="*/ 2143704 w 4657724"/>
              <a:gd name="connsiteY0" fmla="*/ 0 h 5651338"/>
              <a:gd name="connsiteX1" fmla="*/ 4657724 w 4657724"/>
              <a:gd name="connsiteY1" fmla="*/ 0 h 5651338"/>
              <a:gd name="connsiteX2" fmla="*/ 4657724 w 4657724"/>
              <a:gd name="connsiteY2" fmla="*/ 5651338 h 5651338"/>
              <a:gd name="connsiteX3" fmla="*/ 0 w 4657724"/>
              <a:gd name="connsiteY3" fmla="*/ 5651338 h 5651338"/>
              <a:gd name="connsiteX4" fmla="*/ 0 w 4657724"/>
              <a:gd name="connsiteY4" fmla="*/ 245855 h 5651338"/>
              <a:gd name="connsiteX5" fmla="*/ 1894294 w 4657724"/>
              <a:gd name="connsiteY5" fmla="*/ 245855 h 5651338"/>
              <a:gd name="connsiteX6" fmla="*/ 2124932 w 4657724"/>
              <a:gd name="connsiteY6" fmla="*/ 92978 h 56513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657724" h="5651338">
                <a:moveTo>
                  <a:pt x="2143704" y="0"/>
                </a:moveTo>
                <a:lnTo>
                  <a:pt x="4657724" y="0"/>
                </a:lnTo>
                <a:lnTo>
                  <a:pt x="4657724" y="5651338"/>
                </a:lnTo>
                <a:lnTo>
                  <a:pt x="0" y="5651338"/>
                </a:lnTo>
                <a:lnTo>
                  <a:pt x="0" y="245855"/>
                </a:lnTo>
                <a:lnTo>
                  <a:pt x="1894294" y="245855"/>
                </a:lnTo>
                <a:cubicBezTo>
                  <a:pt x="1997975" y="245855"/>
                  <a:pt x="2086934" y="182817"/>
                  <a:pt x="2124932" y="92978"/>
                </a:cubicBez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nl-NL"/>
          </a:p>
        </p:txBody>
      </p:sp>
      <p:sp>
        <p:nvSpPr>
          <p:cNvPr id="7" name="Tijdelijke aanduiding voor tekst 26">
            <a:extLst>
              <a:ext uri="{FF2B5EF4-FFF2-40B4-BE49-F238E27FC236}">
                <a16:creationId xmlns:a16="http://schemas.microsoft.com/office/drawing/2014/main" id="{83048573-D41B-EC4F-B34B-E8072547136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8565" y="1560513"/>
            <a:ext cx="6515267" cy="4543166"/>
          </a:xfrm>
        </p:spPr>
        <p:txBody>
          <a:bodyPr/>
          <a:lstStyle>
            <a:lvl1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1pPr>
            <a:lvl2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2pPr>
            <a:lvl3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3pPr>
            <a:lvl4pPr marL="266700" indent="-260350">
              <a:buClr>
                <a:srgbClr val="AA8FC2"/>
              </a:buClr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r:embed="rId3"/>
                    </a:ext>
                  </a:extLst>
                </a:blip>
              </a:buBlip>
              <a:tabLst/>
              <a:defRPr>
                <a:solidFill>
                  <a:srgbClr val="102F44"/>
                </a:solidFill>
              </a:defRPr>
            </a:lvl4pPr>
            <a:lvl5pPr>
              <a:buClr>
                <a:srgbClr val="ED8F0D"/>
              </a:buClr>
              <a:defRPr>
                <a:solidFill>
                  <a:srgbClr val="102F44"/>
                </a:solidFill>
              </a:defRPr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</p:spTree>
    <p:extLst>
      <p:ext uri="{BB962C8B-B14F-4D97-AF65-F5344CB8AC3E}">
        <p14:creationId xmlns:p14="http://schemas.microsoft.com/office/powerpoint/2010/main" val="39239589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 Journey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7F20856-C2CE-5141-AA55-71B36945A01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614864" y="1122439"/>
            <a:ext cx="963633" cy="963382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671322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er Journe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7F20856-C2CE-5141-AA55-71B36945A01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0611" y="1251284"/>
            <a:ext cx="1080700" cy="1080419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>
            <a:normAutofit/>
          </a:bodyPr>
          <a:lstStyle>
            <a:lvl1pPr algn="ctr">
              <a:defRPr sz="8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0093279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77FB066-C497-3447-AFBC-355A0B2950F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891614" y="1773238"/>
            <a:ext cx="1078987" cy="107870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16" name="Picture Placeholder 14">
            <a:extLst>
              <a:ext uri="{FF2B5EF4-FFF2-40B4-BE49-F238E27FC236}">
                <a16:creationId xmlns:a16="http://schemas.microsoft.com/office/drawing/2014/main" id="{E8691FDF-DF05-0244-9389-84535F62087E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68363" y="1773238"/>
            <a:ext cx="1078987" cy="107870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17" name="Picture Placeholder 14">
            <a:extLst>
              <a:ext uri="{FF2B5EF4-FFF2-40B4-BE49-F238E27FC236}">
                <a16:creationId xmlns:a16="http://schemas.microsoft.com/office/drawing/2014/main" id="{0228ACD1-B509-8246-98F4-2E2EAFBB233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5108" y="1773238"/>
            <a:ext cx="1078987" cy="107870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18" name="Picture Placeholder 14">
            <a:extLst>
              <a:ext uri="{FF2B5EF4-FFF2-40B4-BE49-F238E27FC236}">
                <a16:creationId xmlns:a16="http://schemas.microsoft.com/office/drawing/2014/main" id="{B2EA797C-D871-6640-B9E3-1714389672B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905809" y="1773238"/>
            <a:ext cx="1078987" cy="1078707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19" name="Picture Placeholder 14">
            <a:extLst>
              <a:ext uri="{FF2B5EF4-FFF2-40B4-BE49-F238E27FC236}">
                <a16:creationId xmlns:a16="http://schemas.microsoft.com/office/drawing/2014/main" id="{64D4B74A-6E38-6A49-BD5E-8E78B96F465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74793" y="3429000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0" name="Picture Placeholder 14">
            <a:extLst>
              <a:ext uri="{FF2B5EF4-FFF2-40B4-BE49-F238E27FC236}">
                <a16:creationId xmlns:a16="http://schemas.microsoft.com/office/drawing/2014/main" id="{16A09D8D-A7BA-104A-9BE1-074748E80DB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074793" y="4703312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1" name="Picture Placeholder 14">
            <a:extLst>
              <a:ext uri="{FF2B5EF4-FFF2-40B4-BE49-F238E27FC236}">
                <a16:creationId xmlns:a16="http://schemas.microsoft.com/office/drawing/2014/main" id="{0B0F68C6-12B4-4546-B3A5-36451D33CF2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751788" y="3429000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2" name="Picture Placeholder 14">
            <a:extLst>
              <a:ext uri="{FF2B5EF4-FFF2-40B4-BE49-F238E27FC236}">
                <a16:creationId xmlns:a16="http://schemas.microsoft.com/office/drawing/2014/main" id="{0C9DE70E-897C-154C-9827-196F1ED27C9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751788" y="4703312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3" name="Picture Placeholder 14">
            <a:extLst>
              <a:ext uri="{FF2B5EF4-FFF2-40B4-BE49-F238E27FC236}">
                <a16:creationId xmlns:a16="http://schemas.microsoft.com/office/drawing/2014/main" id="{7924C9AA-3FB8-C748-9EF0-11EF66BD8BF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420513" y="3429000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4" name="Picture Placeholder 14">
            <a:extLst>
              <a:ext uri="{FF2B5EF4-FFF2-40B4-BE49-F238E27FC236}">
                <a16:creationId xmlns:a16="http://schemas.microsoft.com/office/drawing/2014/main" id="{0EB6B7DF-AE3F-6A41-8BF0-00084486263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420513" y="4703312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6EB9483B-E659-FC43-B20A-43E4143BFA0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089239" y="3429000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  <p:sp>
        <p:nvSpPr>
          <p:cNvPr id="26" name="Picture Placeholder 14">
            <a:extLst>
              <a:ext uri="{FF2B5EF4-FFF2-40B4-BE49-F238E27FC236}">
                <a16:creationId xmlns:a16="http://schemas.microsoft.com/office/drawing/2014/main" id="{437E2DCB-0482-A244-851A-4226926BBD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089239" y="4703312"/>
            <a:ext cx="708845" cy="708661"/>
          </a:xfr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200" b="0" i="0">
                <a:solidFill>
                  <a:schemeClr val="tx1"/>
                </a:solidFill>
                <a:latin typeface="Lato Light" panose="020F0502020204030203" pitchFamily="34" charset="0"/>
                <a:ea typeface="Lato Light" panose="020F0502020204030203" pitchFamily="34" charset="0"/>
                <a:cs typeface="Lato Light" panose="020F0502020204030203" pitchFamily="34" charset="0"/>
              </a:defRPr>
            </a:lvl1pPr>
          </a:lstStyle>
          <a:p>
            <a:pPr lvl="0" algn="ctr" defTabSz="914217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03615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71129877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Picture Placeholder 24"/>
          <p:cNvSpPr>
            <a:spLocks noGrp="1"/>
          </p:cNvSpPr>
          <p:nvPr>
            <p:ph type="pic" sz="quarter" idx="10"/>
          </p:nvPr>
        </p:nvSpPr>
        <p:spPr>
          <a:xfrm>
            <a:off x="2856123" y="3083170"/>
            <a:ext cx="1125628" cy="1148275"/>
          </a:xfrm>
          <a:custGeom>
            <a:avLst/>
            <a:gdLst>
              <a:gd name="connsiteX0" fmla="*/ 0 w 962789"/>
              <a:gd name="connsiteY0" fmla="*/ 0 h 982160"/>
              <a:gd name="connsiteX1" fmla="*/ 962789 w 962789"/>
              <a:gd name="connsiteY1" fmla="*/ 0 h 982160"/>
              <a:gd name="connsiteX2" fmla="*/ 962789 w 962789"/>
              <a:gd name="connsiteY2" fmla="*/ 982160 h 982160"/>
              <a:gd name="connsiteX3" fmla="*/ 0 w 962789"/>
              <a:gd name="connsiteY3" fmla="*/ 982160 h 98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62789" h="982160">
                <a:moveTo>
                  <a:pt x="0" y="0"/>
                </a:moveTo>
                <a:lnTo>
                  <a:pt x="962789" y="0"/>
                </a:lnTo>
                <a:lnTo>
                  <a:pt x="962789" y="982160"/>
                </a:lnTo>
                <a:lnTo>
                  <a:pt x="0" y="98216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6" name="Picture Placeholder 25"/>
          <p:cNvSpPr>
            <a:spLocks noGrp="1"/>
          </p:cNvSpPr>
          <p:nvPr>
            <p:ph type="pic" sz="quarter" idx="11"/>
          </p:nvPr>
        </p:nvSpPr>
        <p:spPr>
          <a:xfrm>
            <a:off x="2010445" y="4828470"/>
            <a:ext cx="1154906" cy="1154906"/>
          </a:xfrm>
          <a:custGeom>
            <a:avLst/>
            <a:gdLst>
              <a:gd name="connsiteX0" fmla="*/ 0 w 987831"/>
              <a:gd name="connsiteY0" fmla="*/ 0 h 987831"/>
              <a:gd name="connsiteX1" fmla="*/ 987831 w 987831"/>
              <a:gd name="connsiteY1" fmla="*/ 0 h 987831"/>
              <a:gd name="connsiteX2" fmla="*/ 987831 w 987831"/>
              <a:gd name="connsiteY2" fmla="*/ 987831 h 987831"/>
              <a:gd name="connsiteX3" fmla="*/ 0 w 987831"/>
              <a:gd name="connsiteY3" fmla="*/ 987831 h 9878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7831" h="987831">
                <a:moveTo>
                  <a:pt x="0" y="0"/>
                </a:moveTo>
                <a:lnTo>
                  <a:pt x="987831" y="0"/>
                </a:lnTo>
                <a:lnTo>
                  <a:pt x="987831" y="987831"/>
                </a:lnTo>
                <a:lnTo>
                  <a:pt x="0" y="98783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8" name="Picture Placeholder 27"/>
          <p:cNvSpPr>
            <a:spLocks noGrp="1"/>
          </p:cNvSpPr>
          <p:nvPr>
            <p:ph type="pic" sz="quarter" idx="12"/>
          </p:nvPr>
        </p:nvSpPr>
        <p:spPr>
          <a:xfrm>
            <a:off x="3756939" y="4837569"/>
            <a:ext cx="1155105" cy="1155105"/>
          </a:xfrm>
          <a:custGeom>
            <a:avLst/>
            <a:gdLst>
              <a:gd name="connsiteX0" fmla="*/ 0 w 988002"/>
              <a:gd name="connsiteY0" fmla="*/ 0 h 988002"/>
              <a:gd name="connsiteX1" fmla="*/ 988002 w 988002"/>
              <a:gd name="connsiteY1" fmla="*/ 0 h 988002"/>
              <a:gd name="connsiteX2" fmla="*/ 988002 w 988002"/>
              <a:gd name="connsiteY2" fmla="*/ 988002 h 988002"/>
              <a:gd name="connsiteX3" fmla="*/ 0 w 988002"/>
              <a:gd name="connsiteY3" fmla="*/ 988002 h 988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8002" h="988002">
                <a:moveTo>
                  <a:pt x="0" y="0"/>
                </a:moveTo>
                <a:lnTo>
                  <a:pt x="988002" y="0"/>
                </a:lnTo>
                <a:lnTo>
                  <a:pt x="988002" y="988002"/>
                </a:lnTo>
                <a:lnTo>
                  <a:pt x="0" y="9880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4678305" y="3094320"/>
            <a:ext cx="1172342" cy="1139158"/>
          </a:xfrm>
          <a:custGeom>
            <a:avLst/>
            <a:gdLst>
              <a:gd name="connsiteX0" fmla="*/ 0 w 1002745"/>
              <a:gd name="connsiteY0" fmla="*/ 0 h 974362"/>
              <a:gd name="connsiteX1" fmla="*/ 1002745 w 1002745"/>
              <a:gd name="connsiteY1" fmla="*/ 0 h 974362"/>
              <a:gd name="connsiteX2" fmla="*/ 1002745 w 1002745"/>
              <a:gd name="connsiteY2" fmla="*/ 974362 h 974362"/>
              <a:gd name="connsiteX3" fmla="*/ 0 w 1002745"/>
              <a:gd name="connsiteY3" fmla="*/ 974362 h 9743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02745" h="974362">
                <a:moveTo>
                  <a:pt x="0" y="0"/>
                </a:moveTo>
                <a:lnTo>
                  <a:pt x="1002745" y="0"/>
                </a:lnTo>
                <a:lnTo>
                  <a:pt x="1002745" y="974362"/>
                </a:lnTo>
                <a:lnTo>
                  <a:pt x="0" y="97436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4" name="Picture Placeholder 23"/>
          <p:cNvSpPr>
            <a:spLocks noGrp="1"/>
          </p:cNvSpPr>
          <p:nvPr>
            <p:ph type="pic" sz="quarter" idx="14"/>
          </p:nvPr>
        </p:nvSpPr>
        <p:spPr>
          <a:xfrm>
            <a:off x="5528478" y="1358536"/>
            <a:ext cx="1147424" cy="1147424"/>
          </a:xfrm>
          <a:custGeom>
            <a:avLst/>
            <a:gdLst>
              <a:gd name="connsiteX0" fmla="*/ 0 w 981432"/>
              <a:gd name="connsiteY0" fmla="*/ 0 h 981432"/>
              <a:gd name="connsiteX1" fmla="*/ 981432 w 981432"/>
              <a:gd name="connsiteY1" fmla="*/ 0 h 981432"/>
              <a:gd name="connsiteX2" fmla="*/ 981432 w 981432"/>
              <a:gd name="connsiteY2" fmla="*/ 981432 h 981432"/>
              <a:gd name="connsiteX3" fmla="*/ 0 w 981432"/>
              <a:gd name="connsiteY3" fmla="*/ 981432 h 981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1432" h="981432">
                <a:moveTo>
                  <a:pt x="0" y="0"/>
                </a:moveTo>
                <a:lnTo>
                  <a:pt x="981432" y="0"/>
                </a:lnTo>
                <a:lnTo>
                  <a:pt x="981432" y="981432"/>
                </a:lnTo>
                <a:lnTo>
                  <a:pt x="0" y="98143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31" name="Picture Placeholder 30"/>
          <p:cNvSpPr>
            <a:spLocks noGrp="1"/>
          </p:cNvSpPr>
          <p:nvPr>
            <p:ph type="pic" sz="quarter" idx="15"/>
          </p:nvPr>
        </p:nvSpPr>
        <p:spPr>
          <a:xfrm>
            <a:off x="8182650" y="3086524"/>
            <a:ext cx="1153227" cy="1148274"/>
          </a:xfrm>
          <a:custGeom>
            <a:avLst/>
            <a:gdLst>
              <a:gd name="connsiteX0" fmla="*/ 0 w 986396"/>
              <a:gd name="connsiteY0" fmla="*/ 0 h 982159"/>
              <a:gd name="connsiteX1" fmla="*/ 986396 w 986396"/>
              <a:gd name="connsiteY1" fmla="*/ 0 h 982159"/>
              <a:gd name="connsiteX2" fmla="*/ 986396 w 986396"/>
              <a:gd name="connsiteY2" fmla="*/ 982159 h 982159"/>
              <a:gd name="connsiteX3" fmla="*/ 0 w 986396"/>
              <a:gd name="connsiteY3" fmla="*/ 982159 h 98215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6396" h="982159">
                <a:moveTo>
                  <a:pt x="0" y="0"/>
                </a:moveTo>
                <a:lnTo>
                  <a:pt x="986396" y="0"/>
                </a:lnTo>
                <a:lnTo>
                  <a:pt x="986396" y="982159"/>
                </a:lnTo>
                <a:lnTo>
                  <a:pt x="0" y="98215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32" name="Picture Placeholder 31"/>
          <p:cNvSpPr>
            <a:spLocks noGrp="1"/>
          </p:cNvSpPr>
          <p:nvPr>
            <p:ph type="pic" sz="quarter" idx="16"/>
          </p:nvPr>
        </p:nvSpPr>
        <p:spPr>
          <a:xfrm>
            <a:off x="9039540" y="4844063"/>
            <a:ext cx="1148232" cy="1148232"/>
          </a:xfrm>
          <a:custGeom>
            <a:avLst/>
            <a:gdLst>
              <a:gd name="connsiteX0" fmla="*/ 0 w 982123"/>
              <a:gd name="connsiteY0" fmla="*/ 0 h 982123"/>
              <a:gd name="connsiteX1" fmla="*/ 982123 w 982123"/>
              <a:gd name="connsiteY1" fmla="*/ 0 h 982123"/>
              <a:gd name="connsiteX2" fmla="*/ 982123 w 982123"/>
              <a:gd name="connsiteY2" fmla="*/ 982123 h 982123"/>
              <a:gd name="connsiteX3" fmla="*/ 0 w 982123"/>
              <a:gd name="connsiteY3" fmla="*/ 982123 h 982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82123" h="982123">
                <a:moveTo>
                  <a:pt x="0" y="0"/>
                </a:moveTo>
                <a:lnTo>
                  <a:pt x="982123" y="0"/>
                </a:lnTo>
                <a:lnTo>
                  <a:pt x="982123" y="982123"/>
                </a:lnTo>
                <a:lnTo>
                  <a:pt x="0" y="98212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30" name="Picture Placeholder 29"/>
          <p:cNvSpPr>
            <a:spLocks noGrp="1"/>
          </p:cNvSpPr>
          <p:nvPr>
            <p:ph type="pic" sz="quarter" idx="17"/>
          </p:nvPr>
        </p:nvSpPr>
        <p:spPr>
          <a:xfrm>
            <a:off x="7279957" y="4842716"/>
            <a:ext cx="1141541" cy="1133368"/>
          </a:xfrm>
          <a:custGeom>
            <a:avLst/>
            <a:gdLst>
              <a:gd name="connsiteX0" fmla="*/ 0 w 976400"/>
              <a:gd name="connsiteY0" fmla="*/ 0 h 969409"/>
              <a:gd name="connsiteX1" fmla="*/ 976400 w 976400"/>
              <a:gd name="connsiteY1" fmla="*/ 0 h 969409"/>
              <a:gd name="connsiteX2" fmla="*/ 976400 w 976400"/>
              <a:gd name="connsiteY2" fmla="*/ 969409 h 969409"/>
              <a:gd name="connsiteX3" fmla="*/ 0 w 976400"/>
              <a:gd name="connsiteY3" fmla="*/ 969409 h 9694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6400" h="969409">
                <a:moveTo>
                  <a:pt x="0" y="0"/>
                </a:moveTo>
                <a:lnTo>
                  <a:pt x="976400" y="0"/>
                </a:lnTo>
                <a:lnTo>
                  <a:pt x="976400" y="969409"/>
                </a:lnTo>
                <a:lnTo>
                  <a:pt x="0" y="96940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  <p:sp>
        <p:nvSpPr>
          <p:cNvPr id="29" name="Picture Placeholder 28"/>
          <p:cNvSpPr>
            <a:spLocks noGrp="1"/>
          </p:cNvSpPr>
          <p:nvPr>
            <p:ph type="pic" sz="quarter" idx="18"/>
          </p:nvPr>
        </p:nvSpPr>
        <p:spPr>
          <a:xfrm>
            <a:off x="6341354" y="3106344"/>
            <a:ext cx="1139158" cy="1125102"/>
          </a:xfrm>
          <a:custGeom>
            <a:avLst/>
            <a:gdLst>
              <a:gd name="connsiteX0" fmla="*/ 0 w 974361"/>
              <a:gd name="connsiteY0" fmla="*/ 0 h 962339"/>
              <a:gd name="connsiteX1" fmla="*/ 974361 w 974361"/>
              <a:gd name="connsiteY1" fmla="*/ 0 h 962339"/>
              <a:gd name="connsiteX2" fmla="*/ 974361 w 974361"/>
              <a:gd name="connsiteY2" fmla="*/ 962339 h 962339"/>
              <a:gd name="connsiteX3" fmla="*/ 0 w 974361"/>
              <a:gd name="connsiteY3" fmla="*/ 962339 h 96233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74361" h="962339">
                <a:moveTo>
                  <a:pt x="0" y="0"/>
                </a:moveTo>
                <a:lnTo>
                  <a:pt x="974361" y="0"/>
                </a:lnTo>
                <a:lnTo>
                  <a:pt x="974361" y="962339"/>
                </a:lnTo>
                <a:lnTo>
                  <a:pt x="0" y="96233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3839150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Picture Placeholder 32"/>
          <p:cNvSpPr>
            <a:spLocks noGrp="1"/>
          </p:cNvSpPr>
          <p:nvPr>
            <p:ph type="pic" sz="quarter" idx="10"/>
          </p:nvPr>
        </p:nvSpPr>
        <p:spPr>
          <a:xfrm>
            <a:off x="5199284" y="1322465"/>
            <a:ext cx="1793432" cy="1793432"/>
          </a:xfrm>
          <a:custGeom>
            <a:avLst/>
            <a:gdLst>
              <a:gd name="connsiteX0" fmla="*/ 896716 w 1793432"/>
              <a:gd name="connsiteY0" fmla="*/ 0 h 1793432"/>
              <a:gd name="connsiteX1" fmla="*/ 1793432 w 1793432"/>
              <a:gd name="connsiteY1" fmla="*/ 896716 h 1793432"/>
              <a:gd name="connsiteX2" fmla="*/ 896716 w 1793432"/>
              <a:gd name="connsiteY2" fmla="*/ 1793432 h 1793432"/>
              <a:gd name="connsiteX3" fmla="*/ 0 w 1793432"/>
              <a:gd name="connsiteY3" fmla="*/ 896716 h 1793432"/>
              <a:gd name="connsiteX4" fmla="*/ 896716 w 1793432"/>
              <a:gd name="connsiteY4" fmla="*/ 0 h 179343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793432" h="1793432">
                <a:moveTo>
                  <a:pt x="896716" y="0"/>
                </a:moveTo>
                <a:cubicBezTo>
                  <a:pt x="1391959" y="0"/>
                  <a:pt x="1793432" y="401473"/>
                  <a:pt x="1793432" y="896716"/>
                </a:cubicBezTo>
                <a:cubicBezTo>
                  <a:pt x="1793432" y="1391959"/>
                  <a:pt x="1391959" y="1793432"/>
                  <a:pt x="896716" y="1793432"/>
                </a:cubicBezTo>
                <a:cubicBezTo>
                  <a:pt x="401473" y="1793432"/>
                  <a:pt x="0" y="1391959"/>
                  <a:pt x="0" y="896716"/>
                </a:cubicBezTo>
                <a:cubicBezTo>
                  <a:pt x="0" y="401473"/>
                  <a:pt x="401473" y="0"/>
                  <a:pt x="89671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4" name="Picture Placeholder 43"/>
          <p:cNvSpPr>
            <a:spLocks noGrp="1"/>
          </p:cNvSpPr>
          <p:nvPr>
            <p:ph type="pic" sz="quarter" idx="11"/>
          </p:nvPr>
        </p:nvSpPr>
        <p:spPr>
          <a:xfrm>
            <a:off x="1946608" y="2347583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3" name="Picture Placeholder 42"/>
          <p:cNvSpPr>
            <a:spLocks noGrp="1"/>
          </p:cNvSpPr>
          <p:nvPr>
            <p:ph type="pic" sz="quarter" idx="12"/>
          </p:nvPr>
        </p:nvSpPr>
        <p:spPr>
          <a:xfrm>
            <a:off x="3686621" y="2342210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2" name="Picture Placeholder 41"/>
          <p:cNvSpPr>
            <a:spLocks noGrp="1"/>
          </p:cNvSpPr>
          <p:nvPr>
            <p:ph type="pic" sz="quarter" idx="13"/>
          </p:nvPr>
        </p:nvSpPr>
        <p:spPr>
          <a:xfrm>
            <a:off x="705872" y="4609878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1" name="Picture Placeholder 40"/>
          <p:cNvSpPr>
            <a:spLocks noGrp="1"/>
          </p:cNvSpPr>
          <p:nvPr>
            <p:ph type="pic" sz="quarter" idx="14"/>
          </p:nvPr>
        </p:nvSpPr>
        <p:spPr>
          <a:xfrm>
            <a:off x="2042501" y="4629466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0" name="Picture Placeholder 39"/>
          <p:cNvSpPr>
            <a:spLocks noGrp="1"/>
          </p:cNvSpPr>
          <p:nvPr>
            <p:ph type="pic" sz="quarter" idx="15"/>
          </p:nvPr>
        </p:nvSpPr>
        <p:spPr>
          <a:xfrm>
            <a:off x="3379130" y="4631919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9" name="Picture Placeholder 38"/>
          <p:cNvSpPr>
            <a:spLocks noGrp="1"/>
          </p:cNvSpPr>
          <p:nvPr>
            <p:ph type="pic" sz="quarter" idx="16"/>
          </p:nvPr>
        </p:nvSpPr>
        <p:spPr>
          <a:xfrm>
            <a:off x="5530008" y="4073236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8" name="Picture Placeholder 37"/>
          <p:cNvSpPr>
            <a:spLocks noGrp="1"/>
          </p:cNvSpPr>
          <p:nvPr>
            <p:ph type="pic" sz="quarter" idx="17"/>
          </p:nvPr>
        </p:nvSpPr>
        <p:spPr>
          <a:xfrm>
            <a:off x="7780050" y="4595541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7" name="Picture Placeholder 36"/>
          <p:cNvSpPr>
            <a:spLocks noGrp="1"/>
          </p:cNvSpPr>
          <p:nvPr>
            <p:ph type="pic" sz="quarter" idx="18"/>
          </p:nvPr>
        </p:nvSpPr>
        <p:spPr>
          <a:xfrm>
            <a:off x="9143962" y="4615129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6" name="Picture Placeholder 35"/>
          <p:cNvSpPr>
            <a:spLocks noGrp="1"/>
          </p:cNvSpPr>
          <p:nvPr>
            <p:ph type="pic" sz="quarter" idx="19"/>
          </p:nvPr>
        </p:nvSpPr>
        <p:spPr>
          <a:xfrm>
            <a:off x="10464395" y="4633672"/>
            <a:ext cx="1009438" cy="1009438"/>
          </a:xfrm>
          <a:custGeom>
            <a:avLst/>
            <a:gdLst>
              <a:gd name="connsiteX0" fmla="*/ 504719 w 1009438"/>
              <a:gd name="connsiteY0" fmla="*/ 0 h 1009438"/>
              <a:gd name="connsiteX1" fmla="*/ 1009438 w 1009438"/>
              <a:gd name="connsiteY1" fmla="*/ 504719 h 1009438"/>
              <a:gd name="connsiteX2" fmla="*/ 504719 w 1009438"/>
              <a:gd name="connsiteY2" fmla="*/ 1009438 h 1009438"/>
              <a:gd name="connsiteX3" fmla="*/ 0 w 1009438"/>
              <a:gd name="connsiteY3" fmla="*/ 504719 h 1009438"/>
              <a:gd name="connsiteX4" fmla="*/ 504719 w 1009438"/>
              <a:gd name="connsiteY4" fmla="*/ 0 h 10094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009438" h="1009438">
                <a:moveTo>
                  <a:pt x="504719" y="0"/>
                </a:moveTo>
                <a:cubicBezTo>
                  <a:pt x="783468" y="0"/>
                  <a:pt x="1009438" y="225970"/>
                  <a:pt x="1009438" y="504719"/>
                </a:cubicBezTo>
                <a:cubicBezTo>
                  <a:pt x="1009438" y="783468"/>
                  <a:pt x="783468" y="1009438"/>
                  <a:pt x="504719" y="1009438"/>
                </a:cubicBezTo>
                <a:cubicBezTo>
                  <a:pt x="225970" y="1009438"/>
                  <a:pt x="0" y="783468"/>
                  <a:pt x="0" y="504719"/>
                </a:cubicBezTo>
                <a:cubicBezTo>
                  <a:pt x="0" y="225970"/>
                  <a:pt x="225970" y="0"/>
                  <a:pt x="504719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5" name="Picture Placeholder 34"/>
          <p:cNvSpPr>
            <a:spLocks noGrp="1"/>
          </p:cNvSpPr>
          <p:nvPr>
            <p:ph type="pic" sz="quarter" idx="20"/>
          </p:nvPr>
        </p:nvSpPr>
        <p:spPr>
          <a:xfrm>
            <a:off x="9122899" y="2350012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4" name="Picture Placeholder 33"/>
          <p:cNvSpPr>
            <a:spLocks noGrp="1"/>
          </p:cNvSpPr>
          <p:nvPr>
            <p:ph type="pic" sz="quarter" idx="21"/>
          </p:nvPr>
        </p:nvSpPr>
        <p:spPr>
          <a:xfrm>
            <a:off x="7382886" y="2355385"/>
            <a:ext cx="1119688" cy="1119688"/>
          </a:xfrm>
          <a:custGeom>
            <a:avLst/>
            <a:gdLst>
              <a:gd name="connsiteX0" fmla="*/ 559844 w 1119688"/>
              <a:gd name="connsiteY0" fmla="*/ 0 h 1119688"/>
              <a:gd name="connsiteX1" fmla="*/ 1119688 w 1119688"/>
              <a:gd name="connsiteY1" fmla="*/ 559844 h 1119688"/>
              <a:gd name="connsiteX2" fmla="*/ 559844 w 1119688"/>
              <a:gd name="connsiteY2" fmla="*/ 1119688 h 1119688"/>
              <a:gd name="connsiteX3" fmla="*/ 0 w 1119688"/>
              <a:gd name="connsiteY3" fmla="*/ 559844 h 1119688"/>
              <a:gd name="connsiteX4" fmla="*/ 559844 w 1119688"/>
              <a:gd name="connsiteY4" fmla="*/ 0 h 1119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19688" h="1119688">
                <a:moveTo>
                  <a:pt x="559844" y="0"/>
                </a:moveTo>
                <a:cubicBezTo>
                  <a:pt x="869037" y="0"/>
                  <a:pt x="1119688" y="250651"/>
                  <a:pt x="1119688" y="559844"/>
                </a:cubicBezTo>
                <a:cubicBezTo>
                  <a:pt x="1119688" y="869037"/>
                  <a:pt x="869037" y="1119688"/>
                  <a:pt x="559844" y="1119688"/>
                </a:cubicBezTo>
                <a:cubicBezTo>
                  <a:pt x="250651" y="1119688"/>
                  <a:pt x="0" y="869037"/>
                  <a:pt x="0" y="559844"/>
                </a:cubicBezTo>
                <a:cubicBezTo>
                  <a:pt x="0" y="250651"/>
                  <a:pt x="250651" y="0"/>
                  <a:pt x="55984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4690303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FBE2F1BE-014C-4BA2-9CF1-D8197D1B303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779987" y="0"/>
            <a:ext cx="5412015" cy="6858000"/>
          </a:xfrm>
          <a:custGeom>
            <a:avLst/>
            <a:gdLst>
              <a:gd name="connsiteX0" fmla="*/ 2388418 w 5412015"/>
              <a:gd name="connsiteY0" fmla="*/ 0 h 6858000"/>
              <a:gd name="connsiteX1" fmla="*/ 2781300 w 5412015"/>
              <a:gd name="connsiteY1" fmla="*/ 0 h 6858000"/>
              <a:gd name="connsiteX2" fmla="*/ 4667250 w 5412015"/>
              <a:gd name="connsiteY2" fmla="*/ 0 h 6858000"/>
              <a:gd name="connsiteX3" fmla="*/ 5412015 w 5412015"/>
              <a:gd name="connsiteY3" fmla="*/ 0 h 6858000"/>
              <a:gd name="connsiteX4" fmla="*/ 5412015 w 5412015"/>
              <a:gd name="connsiteY4" fmla="*/ 6858000 h 6858000"/>
              <a:gd name="connsiteX5" fmla="*/ 4667250 w 5412015"/>
              <a:gd name="connsiteY5" fmla="*/ 6858000 h 6858000"/>
              <a:gd name="connsiteX6" fmla="*/ 2781300 w 5412015"/>
              <a:gd name="connsiteY6" fmla="*/ 6858000 h 6858000"/>
              <a:gd name="connsiteX7" fmla="*/ 2388413 w 5412015"/>
              <a:gd name="connsiteY7" fmla="*/ 6858000 h 6858000"/>
              <a:gd name="connsiteX8" fmla="*/ 2232020 w 5412015"/>
              <a:gd name="connsiteY8" fmla="*/ 6796336 h 6858000"/>
              <a:gd name="connsiteX9" fmla="*/ 0 w 5412015"/>
              <a:gd name="connsiteY9" fmla="*/ 3429001 h 6858000"/>
              <a:gd name="connsiteX10" fmla="*/ 2232020 w 5412015"/>
              <a:gd name="connsiteY10" fmla="*/ 61666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412015" h="6858000">
                <a:moveTo>
                  <a:pt x="2388418" y="0"/>
                </a:moveTo>
                <a:lnTo>
                  <a:pt x="2781300" y="0"/>
                </a:lnTo>
                <a:lnTo>
                  <a:pt x="4667250" y="0"/>
                </a:lnTo>
                <a:lnTo>
                  <a:pt x="5412015" y="0"/>
                </a:lnTo>
                <a:lnTo>
                  <a:pt x="5412015" y="6858000"/>
                </a:lnTo>
                <a:lnTo>
                  <a:pt x="4667250" y="6858000"/>
                </a:lnTo>
                <a:lnTo>
                  <a:pt x="2781300" y="6858000"/>
                </a:lnTo>
                <a:lnTo>
                  <a:pt x="2388413" y="6858000"/>
                </a:lnTo>
                <a:lnTo>
                  <a:pt x="2232020" y="6796336"/>
                </a:lnTo>
                <a:cubicBezTo>
                  <a:pt x="920355" y="6241549"/>
                  <a:pt x="0" y="4942756"/>
                  <a:pt x="0" y="3429001"/>
                </a:cubicBezTo>
                <a:cubicBezTo>
                  <a:pt x="0" y="1915247"/>
                  <a:pt x="920355" y="616453"/>
                  <a:pt x="2232020" y="61666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394232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62AA6C0E-7A79-47E7-B106-121A578CB77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50144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4922310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xec Che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17117DC-1CB0-4EC5-85B5-7FD8B7F5576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1"/>
            <a:ext cx="4862826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0" dist="393700" dir="5400000" sx="83000" sy="83000" algn="t" rotWithShape="0">
              <a:prstClr val="black">
                <a:alpha val="18000"/>
              </a:prstClr>
            </a:outerShdw>
          </a:effectLst>
        </p:spPr>
        <p:txBody>
          <a:bodyPr/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713471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oking 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C072E668-7E47-4DB8-ABEC-53D5D748F1E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392901" y="1520848"/>
            <a:ext cx="1270311" cy="1270310"/>
          </a:xfrm>
          <a:custGeom>
            <a:avLst/>
            <a:gdLst>
              <a:gd name="connsiteX0" fmla="*/ 463768 w 927536"/>
              <a:gd name="connsiteY0" fmla="*/ 0 h 927536"/>
              <a:gd name="connsiteX1" fmla="*/ 927536 w 927536"/>
              <a:gd name="connsiteY1" fmla="*/ 463768 h 927536"/>
              <a:gd name="connsiteX2" fmla="*/ 463768 w 927536"/>
              <a:gd name="connsiteY2" fmla="*/ 927536 h 927536"/>
              <a:gd name="connsiteX3" fmla="*/ 0 w 927536"/>
              <a:gd name="connsiteY3" fmla="*/ 463768 h 927536"/>
              <a:gd name="connsiteX4" fmla="*/ 463768 w 927536"/>
              <a:gd name="connsiteY4" fmla="*/ 0 h 927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536" h="927536">
                <a:moveTo>
                  <a:pt x="463768" y="0"/>
                </a:moveTo>
                <a:cubicBezTo>
                  <a:pt x="719900" y="0"/>
                  <a:pt x="927536" y="207636"/>
                  <a:pt x="927536" y="463768"/>
                </a:cubicBezTo>
                <a:cubicBezTo>
                  <a:pt x="927536" y="719900"/>
                  <a:pt x="719900" y="927536"/>
                  <a:pt x="463768" y="927536"/>
                </a:cubicBezTo>
                <a:cubicBezTo>
                  <a:pt x="207636" y="927536"/>
                  <a:pt x="0" y="719900"/>
                  <a:pt x="0" y="463768"/>
                </a:cubicBezTo>
                <a:cubicBezTo>
                  <a:pt x="0" y="207636"/>
                  <a:pt x="207636" y="0"/>
                  <a:pt x="46376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F7CF0867-9C9D-4BF8-8AF4-BC560C7CAFB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104864" y="1520848"/>
            <a:ext cx="1270311" cy="1270310"/>
          </a:xfrm>
          <a:custGeom>
            <a:avLst/>
            <a:gdLst>
              <a:gd name="connsiteX0" fmla="*/ 463768 w 927536"/>
              <a:gd name="connsiteY0" fmla="*/ 0 h 927536"/>
              <a:gd name="connsiteX1" fmla="*/ 927536 w 927536"/>
              <a:gd name="connsiteY1" fmla="*/ 463768 h 927536"/>
              <a:gd name="connsiteX2" fmla="*/ 463768 w 927536"/>
              <a:gd name="connsiteY2" fmla="*/ 927536 h 927536"/>
              <a:gd name="connsiteX3" fmla="*/ 0 w 927536"/>
              <a:gd name="connsiteY3" fmla="*/ 463768 h 927536"/>
              <a:gd name="connsiteX4" fmla="*/ 463768 w 927536"/>
              <a:gd name="connsiteY4" fmla="*/ 0 h 927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536" h="927536">
                <a:moveTo>
                  <a:pt x="463768" y="0"/>
                </a:moveTo>
                <a:cubicBezTo>
                  <a:pt x="719900" y="0"/>
                  <a:pt x="927536" y="207636"/>
                  <a:pt x="927536" y="463768"/>
                </a:cubicBezTo>
                <a:cubicBezTo>
                  <a:pt x="927536" y="719900"/>
                  <a:pt x="719900" y="927536"/>
                  <a:pt x="463768" y="927536"/>
                </a:cubicBezTo>
                <a:cubicBezTo>
                  <a:pt x="207636" y="927536"/>
                  <a:pt x="0" y="719900"/>
                  <a:pt x="0" y="463768"/>
                </a:cubicBezTo>
                <a:cubicBezTo>
                  <a:pt x="0" y="207636"/>
                  <a:pt x="207636" y="0"/>
                  <a:pt x="46376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CE101154-7189-43AE-83E5-0EA41C047989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816827" y="1520848"/>
            <a:ext cx="1270311" cy="1270310"/>
          </a:xfrm>
          <a:custGeom>
            <a:avLst/>
            <a:gdLst>
              <a:gd name="connsiteX0" fmla="*/ 463768 w 927536"/>
              <a:gd name="connsiteY0" fmla="*/ 0 h 927536"/>
              <a:gd name="connsiteX1" fmla="*/ 927536 w 927536"/>
              <a:gd name="connsiteY1" fmla="*/ 463768 h 927536"/>
              <a:gd name="connsiteX2" fmla="*/ 463768 w 927536"/>
              <a:gd name="connsiteY2" fmla="*/ 927536 h 927536"/>
              <a:gd name="connsiteX3" fmla="*/ 0 w 927536"/>
              <a:gd name="connsiteY3" fmla="*/ 463768 h 927536"/>
              <a:gd name="connsiteX4" fmla="*/ 463768 w 927536"/>
              <a:gd name="connsiteY4" fmla="*/ 0 h 927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536" h="927536">
                <a:moveTo>
                  <a:pt x="463768" y="0"/>
                </a:moveTo>
                <a:cubicBezTo>
                  <a:pt x="719900" y="0"/>
                  <a:pt x="927536" y="207636"/>
                  <a:pt x="927536" y="463768"/>
                </a:cubicBezTo>
                <a:cubicBezTo>
                  <a:pt x="927536" y="719900"/>
                  <a:pt x="719900" y="927536"/>
                  <a:pt x="463768" y="927536"/>
                </a:cubicBezTo>
                <a:cubicBezTo>
                  <a:pt x="207636" y="927536"/>
                  <a:pt x="0" y="719900"/>
                  <a:pt x="0" y="463768"/>
                </a:cubicBezTo>
                <a:cubicBezTo>
                  <a:pt x="0" y="207636"/>
                  <a:pt x="207636" y="0"/>
                  <a:pt x="46376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4183616-84B1-4162-A8B7-DADA416E069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528790" y="1520848"/>
            <a:ext cx="1270311" cy="1270310"/>
          </a:xfrm>
          <a:custGeom>
            <a:avLst/>
            <a:gdLst>
              <a:gd name="connsiteX0" fmla="*/ 463768 w 927536"/>
              <a:gd name="connsiteY0" fmla="*/ 0 h 927536"/>
              <a:gd name="connsiteX1" fmla="*/ 927536 w 927536"/>
              <a:gd name="connsiteY1" fmla="*/ 463768 h 927536"/>
              <a:gd name="connsiteX2" fmla="*/ 463768 w 927536"/>
              <a:gd name="connsiteY2" fmla="*/ 927536 h 927536"/>
              <a:gd name="connsiteX3" fmla="*/ 0 w 927536"/>
              <a:gd name="connsiteY3" fmla="*/ 463768 h 927536"/>
              <a:gd name="connsiteX4" fmla="*/ 463768 w 927536"/>
              <a:gd name="connsiteY4" fmla="*/ 0 h 927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536" h="927536">
                <a:moveTo>
                  <a:pt x="463768" y="0"/>
                </a:moveTo>
                <a:cubicBezTo>
                  <a:pt x="719900" y="0"/>
                  <a:pt x="927536" y="207636"/>
                  <a:pt x="927536" y="463768"/>
                </a:cubicBezTo>
                <a:cubicBezTo>
                  <a:pt x="927536" y="719900"/>
                  <a:pt x="719900" y="927536"/>
                  <a:pt x="463768" y="927536"/>
                </a:cubicBezTo>
                <a:cubicBezTo>
                  <a:pt x="207636" y="927536"/>
                  <a:pt x="0" y="719900"/>
                  <a:pt x="0" y="463768"/>
                </a:cubicBezTo>
                <a:cubicBezTo>
                  <a:pt x="0" y="207636"/>
                  <a:pt x="207636" y="0"/>
                  <a:pt x="46376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0D6FE686-F122-4AEB-9552-807B477CFB9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392901" y="4074875"/>
            <a:ext cx="1270311" cy="1270310"/>
          </a:xfrm>
          <a:custGeom>
            <a:avLst/>
            <a:gdLst>
              <a:gd name="connsiteX0" fmla="*/ 463768 w 927536"/>
              <a:gd name="connsiteY0" fmla="*/ 0 h 927536"/>
              <a:gd name="connsiteX1" fmla="*/ 927536 w 927536"/>
              <a:gd name="connsiteY1" fmla="*/ 463768 h 927536"/>
              <a:gd name="connsiteX2" fmla="*/ 463768 w 927536"/>
              <a:gd name="connsiteY2" fmla="*/ 927536 h 927536"/>
              <a:gd name="connsiteX3" fmla="*/ 0 w 927536"/>
              <a:gd name="connsiteY3" fmla="*/ 463768 h 927536"/>
              <a:gd name="connsiteX4" fmla="*/ 463768 w 927536"/>
              <a:gd name="connsiteY4" fmla="*/ 0 h 927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536" h="927536">
                <a:moveTo>
                  <a:pt x="463768" y="0"/>
                </a:moveTo>
                <a:cubicBezTo>
                  <a:pt x="719900" y="0"/>
                  <a:pt x="927536" y="207636"/>
                  <a:pt x="927536" y="463768"/>
                </a:cubicBezTo>
                <a:cubicBezTo>
                  <a:pt x="927536" y="719900"/>
                  <a:pt x="719900" y="927536"/>
                  <a:pt x="463768" y="927536"/>
                </a:cubicBezTo>
                <a:cubicBezTo>
                  <a:pt x="207636" y="927536"/>
                  <a:pt x="0" y="719900"/>
                  <a:pt x="0" y="463768"/>
                </a:cubicBezTo>
                <a:cubicBezTo>
                  <a:pt x="0" y="207636"/>
                  <a:pt x="207636" y="0"/>
                  <a:pt x="46376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969A20F-279B-4624-8846-6D9E29D45D8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104864" y="4074875"/>
            <a:ext cx="1270311" cy="1270310"/>
          </a:xfrm>
          <a:custGeom>
            <a:avLst/>
            <a:gdLst>
              <a:gd name="connsiteX0" fmla="*/ 463768 w 927536"/>
              <a:gd name="connsiteY0" fmla="*/ 0 h 927536"/>
              <a:gd name="connsiteX1" fmla="*/ 927536 w 927536"/>
              <a:gd name="connsiteY1" fmla="*/ 463768 h 927536"/>
              <a:gd name="connsiteX2" fmla="*/ 463768 w 927536"/>
              <a:gd name="connsiteY2" fmla="*/ 927536 h 927536"/>
              <a:gd name="connsiteX3" fmla="*/ 0 w 927536"/>
              <a:gd name="connsiteY3" fmla="*/ 463768 h 927536"/>
              <a:gd name="connsiteX4" fmla="*/ 463768 w 927536"/>
              <a:gd name="connsiteY4" fmla="*/ 0 h 927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536" h="927536">
                <a:moveTo>
                  <a:pt x="463768" y="0"/>
                </a:moveTo>
                <a:cubicBezTo>
                  <a:pt x="719900" y="0"/>
                  <a:pt x="927536" y="207636"/>
                  <a:pt x="927536" y="463768"/>
                </a:cubicBezTo>
                <a:cubicBezTo>
                  <a:pt x="927536" y="719900"/>
                  <a:pt x="719900" y="927536"/>
                  <a:pt x="463768" y="927536"/>
                </a:cubicBezTo>
                <a:cubicBezTo>
                  <a:pt x="207636" y="927536"/>
                  <a:pt x="0" y="719900"/>
                  <a:pt x="0" y="463768"/>
                </a:cubicBezTo>
                <a:cubicBezTo>
                  <a:pt x="0" y="207636"/>
                  <a:pt x="207636" y="0"/>
                  <a:pt x="46376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59D00BEA-4113-4CD0-B065-028DAF34B7D0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816827" y="4074875"/>
            <a:ext cx="1270311" cy="1270310"/>
          </a:xfrm>
          <a:custGeom>
            <a:avLst/>
            <a:gdLst>
              <a:gd name="connsiteX0" fmla="*/ 463768 w 927536"/>
              <a:gd name="connsiteY0" fmla="*/ 0 h 927536"/>
              <a:gd name="connsiteX1" fmla="*/ 927536 w 927536"/>
              <a:gd name="connsiteY1" fmla="*/ 463768 h 927536"/>
              <a:gd name="connsiteX2" fmla="*/ 463768 w 927536"/>
              <a:gd name="connsiteY2" fmla="*/ 927536 h 927536"/>
              <a:gd name="connsiteX3" fmla="*/ 0 w 927536"/>
              <a:gd name="connsiteY3" fmla="*/ 463768 h 927536"/>
              <a:gd name="connsiteX4" fmla="*/ 463768 w 927536"/>
              <a:gd name="connsiteY4" fmla="*/ 0 h 927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536" h="927536">
                <a:moveTo>
                  <a:pt x="463768" y="0"/>
                </a:moveTo>
                <a:cubicBezTo>
                  <a:pt x="719900" y="0"/>
                  <a:pt x="927536" y="207636"/>
                  <a:pt x="927536" y="463768"/>
                </a:cubicBezTo>
                <a:cubicBezTo>
                  <a:pt x="927536" y="719900"/>
                  <a:pt x="719900" y="927536"/>
                  <a:pt x="463768" y="927536"/>
                </a:cubicBezTo>
                <a:cubicBezTo>
                  <a:pt x="207636" y="927536"/>
                  <a:pt x="0" y="719900"/>
                  <a:pt x="0" y="463768"/>
                </a:cubicBezTo>
                <a:cubicBezTo>
                  <a:pt x="0" y="207636"/>
                  <a:pt x="207636" y="0"/>
                  <a:pt x="46376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B41DD968-BDF0-4357-9349-477CC4554F8F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9528790" y="4074875"/>
            <a:ext cx="1270311" cy="1270310"/>
          </a:xfrm>
          <a:custGeom>
            <a:avLst/>
            <a:gdLst>
              <a:gd name="connsiteX0" fmla="*/ 463768 w 927536"/>
              <a:gd name="connsiteY0" fmla="*/ 0 h 927536"/>
              <a:gd name="connsiteX1" fmla="*/ 927536 w 927536"/>
              <a:gd name="connsiteY1" fmla="*/ 463768 h 927536"/>
              <a:gd name="connsiteX2" fmla="*/ 463768 w 927536"/>
              <a:gd name="connsiteY2" fmla="*/ 927536 h 927536"/>
              <a:gd name="connsiteX3" fmla="*/ 0 w 927536"/>
              <a:gd name="connsiteY3" fmla="*/ 463768 h 927536"/>
              <a:gd name="connsiteX4" fmla="*/ 463768 w 927536"/>
              <a:gd name="connsiteY4" fmla="*/ 0 h 9275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27536" h="927536">
                <a:moveTo>
                  <a:pt x="463768" y="0"/>
                </a:moveTo>
                <a:cubicBezTo>
                  <a:pt x="719900" y="0"/>
                  <a:pt x="927536" y="207636"/>
                  <a:pt x="927536" y="463768"/>
                </a:cubicBezTo>
                <a:cubicBezTo>
                  <a:pt x="927536" y="719900"/>
                  <a:pt x="719900" y="927536"/>
                  <a:pt x="463768" y="927536"/>
                </a:cubicBezTo>
                <a:cubicBezTo>
                  <a:pt x="207636" y="927536"/>
                  <a:pt x="0" y="719900"/>
                  <a:pt x="0" y="463768"/>
                </a:cubicBezTo>
                <a:cubicBezTo>
                  <a:pt x="0" y="207636"/>
                  <a:pt x="207636" y="0"/>
                  <a:pt x="463768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81506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D509006-5AB0-4E89-1B93-243DACE50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64472F14-3BFD-D500-8EB5-3C24A9DCDB5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E494B8F2-C5E8-C942-53B4-4615293B5F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F063FCCA-35A0-F470-5DF4-377B8E93F9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474EEFDA-5B73-C642-A6A5-997688DCA45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27928197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od Dish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55FD5E-CED9-45DE-9B55-03FADB2C56AD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0611" y="653730"/>
            <a:ext cx="4923786" cy="27837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33400" dist="215900" dir="5400000" sx="92000" sy="92000" algn="t" rotWithShape="0">
              <a:prstClr val="black">
                <a:alpha val="25000"/>
              </a:prstClr>
            </a:outerShdw>
          </a:effectLst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3666A78C-13FD-4915-8D62-C8DB5FC3233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6507604" y="653730"/>
            <a:ext cx="4923786" cy="27837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33400" dist="215900" dir="5400000" sx="92000" sy="92000" algn="t" rotWithShape="0">
              <a:prstClr val="black">
                <a:alpha val="25000"/>
              </a:prstClr>
            </a:outerShdw>
          </a:effectLst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AA1F55B3-A9DE-40E3-ADE4-33B05503910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0611" y="3693258"/>
            <a:ext cx="4923786" cy="27837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33400" dist="215900" dir="5400000" sx="92000" sy="92000" algn="t" rotWithShape="0">
              <a:prstClr val="black">
                <a:alpha val="25000"/>
              </a:prstClr>
            </a:outerShdw>
          </a:effectLst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1AB45BDE-5300-4185-BFB8-C1C07ACD25B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6507604" y="3693257"/>
            <a:ext cx="4923786" cy="278374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533400" dist="215900" dir="5400000" sx="92000" sy="92000" algn="t" rotWithShape="0">
              <a:prstClr val="black">
                <a:alpha val="25000"/>
              </a:prstClr>
            </a:outerShdw>
          </a:effectLst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11161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od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CC13C75E-4692-4811-87E6-9E5C0D0A58A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760611" y="1498601"/>
            <a:ext cx="2802193" cy="497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066800" dist="1193800" dir="5400000" sx="78000" sy="78000" algn="t" rotWithShape="0">
              <a:schemeClr val="tx1">
                <a:alpha val="2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marR="0" indent="0" algn="ctr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i="0">
                <a:solidFill>
                  <a:schemeClr val="tx1"/>
                </a:solidFill>
                <a:latin typeface="Open Sans Light" panose="020B0306030504020204" pitchFamily="34" charset="0"/>
              </a:defRPr>
            </a:lvl1pPr>
          </a:lstStyle>
          <a:p>
            <a:pPr marL="0" marR="0" lvl="0" indent="0" algn="ctr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pPr marL="0" lvl="0" algn="ctr"/>
            <a:endParaRPr lang="en-US" dirty="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6F6264-44ED-4FDA-84DE-6EBB6D4A7A5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4694904" y="1498601"/>
            <a:ext cx="2802193" cy="497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066800" dist="1193800" dir="5400000" sx="78000" sy="78000" algn="t" rotWithShape="0">
              <a:schemeClr val="tx1">
                <a:alpha val="2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marR="0" indent="0" algn="ctr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i="0">
                <a:solidFill>
                  <a:schemeClr val="tx1"/>
                </a:solidFill>
                <a:latin typeface="Open Sans Light" panose="020B0306030504020204" pitchFamily="34" charset="0"/>
              </a:defRPr>
            </a:lvl1pPr>
          </a:lstStyle>
          <a:p>
            <a:pPr marL="0" marR="0" lvl="0" indent="0" algn="ctr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pPr marL="0" lvl="0" algn="ctr"/>
            <a:endParaRPr lang="en-US" dirty="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1C01A5A5-C8F1-4E54-8F8D-91D466125A4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629197" y="1498601"/>
            <a:ext cx="2802193" cy="49784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066800" dist="1193800" dir="5400000" sx="78000" sy="78000" algn="t" rotWithShape="0">
              <a:schemeClr val="tx1">
                <a:alpha val="24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>
            <a:lvl1pPr marL="0" marR="0" indent="0" algn="ctr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en-US" sz="1600" b="0" i="0" dirty="0">
                <a:solidFill>
                  <a:schemeClr val="tx1"/>
                </a:solidFill>
                <a:latin typeface="Open Sans Light" panose="020B0306030504020204" pitchFamily="34" charset="0"/>
              </a:defRPr>
            </a:lvl1pPr>
          </a:lstStyle>
          <a:p>
            <a:pPr marL="0" marR="0" lvl="0" indent="0" algn="ctr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pPr marL="0" lvl="0"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855074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Food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F3A68A85-C08C-4ABB-AEA4-8BE0D6D1CF8B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3429004"/>
            <a:ext cx="3048000" cy="3428999"/>
          </a:xfrm>
          <a:custGeom>
            <a:avLst/>
            <a:gdLst>
              <a:gd name="connsiteX0" fmla="*/ 0 w 3048000"/>
              <a:gd name="connsiteY0" fmla="*/ 0 h 3428999"/>
              <a:gd name="connsiteX1" fmla="*/ 3048000 w 3048000"/>
              <a:gd name="connsiteY1" fmla="*/ 0 h 3428999"/>
              <a:gd name="connsiteX2" fmla="*/ 3048000 w 3048000"/>
              <a:gd name="connsiteY2" fmla="*/ 3428999 h 3428999"/>
              <a:gd name="connsiteX3" fmla="*/ 0 w 3048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8000" h="3428999">
                <a:moveTo>
                  <a:pt x="0" y="0"/>
                </a:moveTo>
                <a:lnTo>
                  <a:pt x="3048000" y="0"/>
                </a:lnTo>
                <a:lnTo>
                  <a:pt x="3048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D6DA1285-73AF-49B0-90CB-4BC58CA6EAF9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048000" y="5"/>
            <a:ext cx="3048000" cy="3428999"/>
          </a:xfrm>
          <a:custGeom>
            <a:avLst/>
            <a:gdLst>
              <a:gd name="connsiteX0" fmla="*/ 0 w 3048000"/>
              <a:gd name="connsiteY0" fmla="*/ 0 h 3428999"/>
              <a:gd name="connsiteX1" fmla="*/ 3048000 w 3048000"/>
              <a:gd name="connsiteY1" fmla="*/ 0 h 3428999"/>
              <a:gd name="connsiteX2" fmla="*/ 3048000 w 3048000"/>
              <a:gd name="connsiteY2" fmla="*/ 3428999 h 3428999"/>
              <a:gd name="connsiteX3" fmla="*/ 0 w 3048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8000" h="3428999">
                <a:moveTo>
                  <a:pt x="0" y="0"/>
                </a:moveTo>
                <a:lnTo>
                  <a:pt x="3048000" y="0"/>
                </a:lnTo>
                <a:lnTo>
                  <a:pt x="3048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B3F9DBF3-29C5-4EC1-B842-B1C97FD36585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6000" y="3429002"/>
            <a:ext cx="3048000" cy="3428999"/>
          </a:xfrm>
          <a:custGeom>
            <a:avLst/>
            <a:gdLst>
              <a:gd name="connsiteX0" fmla="*/ 0 w 3048000"/>
              <a:gd name="connsiteY0" fmla="*/ 0 h 3428999"/>
              <a:gd name="connsiteX1" fmla="*/ 3048000 w 3048000"/>
              <a:gd name="connsiteY1" fmla="*/ 0 h 3428999"/>
              <a:gd name="connsiteX2" fmla="*/ 3048000 w 3048000"/>
              <a:gd name="connsiteY2" fmla="*/ 3428999 h 3428999"/>
              <a:gd name="connsiteX3" fmla="*/ 0 w 3048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8000" h="3428999">
                <a:moveTo>
                  <a:pt x="0" y="0"/>
                </a:moveTo>
                <a:lnTo>
                  <a:pt x="3048000" y="0"/>
                </a:lnTo>
                <a:lnTo>
                  <a:pt x="3048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42289922-FE00-4DA4-BBAB-3A9DF0406384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9144000" y="2"/>
            <a:ext cx="3048000" cy="3428999"/>
          </a:xfrm>
          <a:custGeom>
            <a:avLst/>
            <a:gdLst>
              <a:gd name="connsiteX0" fmla="*/ 0 w 3048000"/>
              <a:gd name="connsiteY0" fmla="*/ 0 h 3428999"/>
              <a:gd name="connsiteX1" fmla="*/ 3048000 w 3048000"/>
              <a:gd name="connsiteY1" fmla="*/ 0 h 3428999"/>
              <a:gd name="connsiteX2" fmla="*/ 3048000 w 3048000"/>
              <a:gd name="connsiteY2" fmla="*/ 3428999 h 3428999"/>
              <a:gd name="connsiteX3" fmla="*/ 0 w 3048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48000" h="3428999">
                <a:moveTo>
                  <a:pt x="0" y="0"/>
                </a:moveTo>
                <a:lnTo>
                  <a:pt x="3048000" y="0"/>
                </a:lnTo>
                <a:lnTo>
                  <a:pt x="3048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marR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6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pPr marL="0" marR="0" lvl="0" indent="0" algn="l" defTabSz="914172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Image placeholder</a:t>
            </a:r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843160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DB3C14-5BDB-7B4C-9CD1-3C2156BE90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43343" y="1671481"/>
            <a:ext cx="2272876" cy="227043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B7AEF380-D2F4-9943-B5DC-76E1010E525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959562" y="1671481"/>
            <a:ext cx="2272876" cy="227043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B256590F-1984-B046-909C-39A3E99EEF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575781" y="1671481"/>
            <a:ext cx="2272876" cy="227043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996380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0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DB3C14-5BDB-7B4C-9CD1-3C2156BE90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040334" y="1671481"/>
            <a:ext cx="2272876" cy="227043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B7AEF380-D2F4-9943-B5DC-76E1010E525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653153" y="1671481"/>
            <a:ext cx="2272876" cy="227043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B256590F-1984-B046-909C-39A3E99EEF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878790" y="1671481"/>
            <a:ext cx="2272876" cy="227043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EBD460-FCC0-394B-A281-187ED0CB3A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65971" y="1671481"/>
            <a:ext cx="2272876" cy="227043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1197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1DDB3C14-5BDB-7B4C-9CD1-3C2156BE9071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0611" y="1808641"/>
            <a:ext cx="2272876" cy="1883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B7AEF380-D2F4-9943-B5DC-76E1010E525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3559912" y="1808641"/>
            <a:ext cx="2272876" cy="1883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B256590F-1984-B046-909C-39A3E99EEF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158513" y="1808641"/>
            <a:ext cx="2272876" cy="1883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1FEBD460-FCC0-394B-A281-187ED0CB3A1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359212" y="1808641"/>
            <a:ext cx="2272876" cy="188324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t">
            <a:normAutofit/>
          </a:bodyPr>
          <a:lstStyle>
            <a:lvl1pPr algn="ctr"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9535777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35FE099E-88DB-3542-BB15-6C5BD3B98F7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568078" y="1516814"/>
            <a:ext cx="906290" cy="90675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E8921EC6-6B3D-E343-B001-CE8B5596E64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2804002" y="2752165"/>
            <a:ext cx="906290" cy="90675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A4C0A95-D732-AE45-83CA-B7A084FB487E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680313" y="2752165"/>
            <a:ext cx="906290" cy="90675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225FC4A0-EA86-174E-80BF-B0C64A2AC7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804002" y="3818394"/>
            <a:ext cx="906290" cy="90675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B773B40E-3248-D443-85D7-3CF9B96E2B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680313" y="3818394"/>
            <a:ext cx="906290" cy="90675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32D22F9A-533F-0B49-8C77-099A702450B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80313" y="4898514"/>
            <a:ext cx="906290" cy="90675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9FA9F395-3C47-2D45-AE6C-16E8184A065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2804002" y="4898514"/>
            <a:ext cx="906290" cy="90675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652305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4603298A-F062-6142-85AC-5A748BB1D123}"/>
              </a:ext>
            </a:extLst>
          </p:cNvPr>
          <p:cNvSpPr>
            <a:spLocks noGrp="1" noChangeAspect="1"/>
          </p:cNvSpPr>
          <p:nvPr>
            <p:ph type="pic" sz="quarter" idx="11"/>
          </p:nvPr>
        </p:nvSpPr>
        <p:spPr>
          <a:xfrm>
            <a:off x="4563163" y="1461046"/>
            <a:ext cx="1370908" cy="13716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AF7817D6-441C-464B-A160-F36A2695D475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337655" y="4941861"/>
            <a:ext cx="1027902" cy="1028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FF0F52F5-8DB3-A543-8FB8-D5F97AC4AC3F}"/>
              </a:ext>
            </a:extLst>
          </p:cNvPr>
          <p:cNvSpPr>
            <a:spLocks noGrp="1" noChangeAspect="1"/>
          </p:cNvSpPr>
          <p:nvPr>
            <p:ph type="pic" sz="quarter" idx="13"/>
          </p:nvPr>
        </p:nvSpPr>
        <p:spPr>
          <a:xfrm>
            <a:off x="4734666" y="4941861"/>
            <a:ext cx="1027902" cy="1028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6" name="Picture Placeholder 4">
            <a:extLst>
              <a:ext uri="{FF2B5EF4-FFF2-40B4-BE49-F238E27FC236}">
                <a16:creationId xmlns:a16="http://schemas.microsoft.com/office/drawing/2014/main" id="{161244C2-AAD7-8546-9898-051E0408F948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8131678" y="4941861"/>
            <a:ext cx="1027902" cy="10287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374BE935-2EF3-A04C-B468-854A761F8B93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2760514" y="3284984"/>
            <a:ext cx="1142423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CC30F8D0-BEDB-A14F-8B66-2F8CBE881712}"/>
              </a:ext>
            </a:extLst>
          </p:cNvPr>
          <p:cNvSpPr>
            <a:spLocks noGrp="1" noChangeAspect="1"/>
          </p:cNvSpPr>
          <p:nvPr>
            <p:ph type="pic" sz="quarter" idx="21"/>
          </p:nvPr>
        </p:nvSpPr>
        <p:spPr>
          <a:xfrm>
            <a:off x="6314729" y="3284984"/>
            <a:ext cx="1142423" cy="1143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184949024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D1239C47-32B5-3447-93AD-F7797A2A538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760611" y="3231336"/>
            <a:ext cx="1145844" cy="1146424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01072D58-64D7-2542-AE97-B5E1EB45E9F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06988" y="1653632"/>
            <a:ext cx="847551" cy="84820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030F755-1D86-0642-8E64-CEBADE1797C0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556879" y="1685840"/>
            <a:ext cx="783183" cy="78379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7" name="Picture Placeholder 4">
            <a:extLst>
              <a:ext uri="{FF2B5EF4-FFF2-40B4-BE49-F238E27FC236}">
                <a16:creationId xmlns:a16="http://schemas.microsoft.com/office/drawing/2014/main" id="{EDB52E19-E389-D241-ACD6-F1C6A9E9503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3806988" y="3380443"/>
            <a:ext cx="847551" cy="84820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8" name="Picture Placeholder 4">
            <a:extLst>
              <a:ext uri="{FF2B5EF4-FFF2-40B4-BE49-F238E27FC236}">
                <a16:creationId xmlns:a16="http://schemas.microsoft.com/office/drawing/2014/main" id="{CCC9CCE1-C57B-ED44-83B3-443654C46D0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806988" y="5107254"/>
            <a:ext cx="847551" cy="848209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9" name="Picture Placeholder 4">
            <a:extLst>
              <a:ext uri="{FF2B5EF4-FFF2-40B4-BE49-F238E27FC236}">
                <a16:creationId xmlns:a16="http://schemas.microsoft.com/office/drawing/2014/main" id="{BF26411C-267B-334B-817A-8D7BA77EE743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556879" y="3412651"/>
            <a:ext cx="783183" cy="78379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9A07765-F64D-594F-98C1-F29AB2C31A89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556879" y="5139462"/>
            <a:ext cx="783183" cy="78379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67A1C912-000D-DB40-B1D2-BF9C4CC8543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242403" y="3412651"/>
            <a:ext cx="783183" cy="783792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/>
        </p:spPr>
        <p:txBody>
          <a:bodyPr>
            <a:normAutofit/>
          </a:bodyPr>
          <a:lstStyle>
            <a:lvl1pPr marL="0" indent="0">
              <a:buNone/>
              <a:defRPr sz="1200"/>
            </a:lvl1pPr>
          </a:lstStyle>
          <a:p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95472576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203AD769-FC64-1343-B821-6DD90E2432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1756955"/>
            <a:ext cx="4019595" cy="42127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4" name="Picture Placeholder 7">
            <a:extLst>
              <a:ext uri="{FF2B5EF4-FFF2-40B4-BE49-F238E27FC236}">
                <a16:creationId xmlns:a16="http://schemas.microsoft.com/office/drawing/2014/main" id="{2090F277-844B-F34B-8B02-2DC7B196C2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86203" y="1756955"/>
            <a:ext cx="4019595" cy="42127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5" name="Picture Placeholder 7">
            <a:extLst>
              <a:ext uri="{FF2B5EF4-FFF2-40B4-BE49-F238E27FC236}">
                <a16:creationId xmlns:a16="http://schemas.microsoft.com/office/drawing/2014/main" id="{AF1F3293-2C9C-1342-8078-7044804121C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72406" y="1756955"/>
            <a:ext cx="4019595" cy="42127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45307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FFFEF8D-98D1-3B08-DCB6-D5F0403B6C1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070327A5-9F5F-7F74-7957-F7F8442EB1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CA8199E5-A6D5-8EDC-1F1F-DD8001C586C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443D047-5D54-CEBC-FE27-48D37753395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9081937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8563428" y="0"/>
            <a:ext cx="3628572" cy="48332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4934856" y="2024744"/>
            <a:ext cx="3628572" cy="483325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30270674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rter Ho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D90A8A51-7C22-DD4D-AC1C-32FBBF103F0D}"/>
              </a:ext>
            </a:extLst>
          </p:cNvPr>
          <p:cNvSpPr>
            <a:spLocks noGrp="1" noChangeAspect="1"/>
          </p:cNvSpPr>
          <p:nvPr>
            <p:ph type="pic" sz="quarter" idx="10"/>
          </p:nvPr>
        </p:nvSpPr>
        <p:spPr>
          <a:xfrm>
            <a:off x="760611" y="381000"/>
            <a:ext cx="10670779" cy="6096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50688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44A118DA-14BF-3F46-AE25-94283E48DF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3924462" cy="33636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DB9B774-88EB-2244-941D-DB50BDDBF6CC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3494315"/>
            <a:ext cx="3924462" cy="33636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18CEB640-8738-844F-9CEA-F54115D4B48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133769" y="0"/>
            <a:ext cx="3924462" cy="33636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4089DFB0-5802-A04C-8FBC-6B4294DC3E1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133769" y="3494315"/>
            <a:ext cx="3924462" cy="33636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92D9E551-898F-B547-9190-AAE05BA6D6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267539" y="0"/>
            <a:ext cx="3924462" cy="33636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8DE06661-FC47-A04A-8973-37B3CC9BD957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267540" y="3494315"/>
            <a:ext cx="3924462" cy="336368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2571135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44A118DA-14BF-3F46-AE25-94283E48DF2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60611" y="1627132"/>
            <a:ext cx="2887429" cy="26198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18CEB640-8738-844F-9CEA-F54115D4B48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52286" y="1627132"/>
            <a:ext cx="2887429" cy="26198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92D9E551-898F-B547-9190-AAE05BA6D62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43960" y="1627132"/>
            <a:ext cx="2887429" cy="26198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16767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203AD769-FC64-1343-B821-6DD90E2432A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1" y="1322615"/>
            <a:ext cx="12192001" cy="421277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2321392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25B7C4AF-723F-A843-A5A6-7C76B11451F4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8244522" y="4909054"/>
            <a:ext cx="1280493" cy="1260664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234B5CD6-EA70-FA49-B62C-0E50467F74F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4815507" y="4909054"/>
            <a:ext cx="1280493" cy="1260664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BD9A7B77-D803-4148-A8B5-AD1116D2801C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244522" y="1296690"/>
            <a:ext cx="1280493" cy="1260664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8F27AC6-5E9B-D54B-BED9-20ACE93CC8C4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815507" y="1296690"/>
            <a:ext cx="1280493" cy="1260664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13" name="Picture Placeholder 3">
            <a:extLst>
              <a:ext uri="{FF2B5EF4-FFF2-40B4-BE49-F238E27FC236}">
                <a16:creationId xmlns:a16="http://schemas.microsoft.com/office/drawing/2014/main" id="{71964DB7-205A-BB4E-B090-C99D9C48EEE6}"/>
              </a:ext>
            </a:extLst>
          </p:cNvPr>
          <p:cNvSpPr>
            <a:spLocks noGrp="1"/>
          </p:cNvSpPr>
          <p:nvPr>
            <p:ph type="pic" sz="quarter" idx="20" hasCustomPrompt="1"/>
          </p:nvPr>
        </p:nvSpPr>
        <p:spPr>
          <a:xfrm>
            <a:off x="8244522" y="3102872"/>
            <a:ext cx="1280493" cy="1260664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822A37CA-2B50-5541-8A43-FD2DCAD26643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4815507" y="3102872"/>
            <a:ext cx="1280493" cy="1260664"/>
          </a:xfrm>
          <a:prstGeom prst="parallelogram">
            <a:avLst>
              <a:gd name="adj" fmla="val 17029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240844451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F82F727C-9AF5-8941-BDCD-A99AF411C00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3875"/>
            <a:ext cx="4699997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9AE6307D-7DC6-C145-8C36-E1AD87A707ED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3746002" y="3875"/>
            <a:ext cx="4699997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BE6F72F5-C6DD-5F44-8483-5D528DB6266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492004" y="3875"/>
            <a:ext cx="4699997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CA5C7637-9818-E94C-A7E0-FB0A5B7B6F12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3559876"/>
            <a:ext cx="4699997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E03E3BA2-7373-A842-B966-A3BF41B5B397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3746002" y="3559876"/>
            <a:ext cx="4699997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A821BEA1-D1BD-084D-A97E-6FF9052FDE15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7492004" y="3559876"/>
            <a:ext cx="4699997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366666750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st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8CE81F0-8487-094D-BEFB-1ED8A6676AC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3875"/>
            <a:ext cx="6556495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F47B3E1-A761-4C42-99D5-5EF860713C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635505" y="3556001"/>
            <a:ext cx="6556495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70876272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stimonia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80BDC8A-3AA0-B94E-AAD2-82483524F3E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6096000" y="3875"/>
            <a:ext cx="6096000" cy="6850250"/>
          </a:xfrm>
          <a:custGeom>
            <a:avLst/>
            <a:gdLst>
              <a:gd name="connsiteX0" fmla="*/ 5665569 w 12188825"/>
              <a:gd name="connsiteY0" fmla="*/ 0 h 13700500"/>
              <a:gd name="connsiteX1" fmla="*/ 12188825 w 12188825"/>
              <a:gd name="connsiteY1" fmla="*/ 0 h 13700500"/>
              <a:gd name="connsiteX2" fmla="*/ 12188825 w 12188825"/>
              <a:gd name="connsiteY2" fmla="*/ 13700500 h 13700500"/>
              <a:gd name="connsiteX3" fmla="*/ 0 w 12188825"/>
              <a:gd name="connsiteY3" fmla="*/ 13700500 h 13700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88825" h="13700500">
                <a:moveTo>
                  <a:pt x="5665569" y="0"/>
                </a:moveTo>
                <a:lnTo>
                  <a:pt x="12188825" y="0"/>
                </a:lnTo>
                <a:lnTo>
                  <a:pt x="12188825" y="13700500"/>
                </a:lnTo>
                <a:lnTo>
                  <a:pt x="0" y="13700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298341345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Porfoli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08CE81F0-8487-094D-BEFB-1ED8A6676AC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3875"/>
            <a:ext cx="6556495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2E63B5-465A-4447-B749-167F4A7D3FD7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5635505" y="3875"/>
            <a:ext cx="6556495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5" name="Picture Placeholder 3">
            <a:extLst>
              <a:ext uri="{FF2B5EF4-FFF2-40B4-BE49-F238E27FC236}">
                <a16:creationId xmlns:a16="http://schemas.microsoft.com/office/drawing/2014/main" id="{E38AF108-D220-A54D-94A1-7BC8F49A6C1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3556001"/>
            <a:ext cx="6556495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  <p:sp>
        <p:nvSpPr>
          <p:cNvPr id="6" name="Picture Placeholder 3">
            <a:extLst>
              <a:ext uri="{FF2B5EF4-FFF2-40B4-BE49-F238E27FC236}">
                <a16:creationId xmlns:a16="http://schemas.microsoft.com/office/drawing/2014/main" id="{7F47B3E1-A761-4C42-99D5-5EF860713C4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5635505" y="3556001"/>
            <a:ext cx="6556495" cy="3298125"/>
          </a:xfrm>
          <a:prstGeom prst="parallelogram">
            <a:avLst>
              <a:gd name="adj" fmla="val 36117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en-US" dirty="0"/>
              <a:t>REPLACE IMAGE HERE</a:t>
            </a:r>
          </a:p>
        </p:txBody>
      </p:sp>
    </p:spTree>
    <p:extLst>
      <p:ext uri="{BB962C8B-B14F-4D97-AF65-F5344CB8AC3E}">
        <p14:creationId xmlns:p14="http://schemas.microsoft.com/office/powerpoint/2010/main" val="19391392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6.xml"/><Relationship Id="rId21" Type="http://schemas.openxmlformats.org/officeDocument/2006/relationships/slideLayout" Target="../slideLayouts/slideLayout31.xml"/><Relationship Id="rId42" Type="http://schemas.openxmlformats.org/officeDocument/2006/relationships/slideLayout" Target="../slideLayouts/slideLayout52.xml"/><Relationship Id="rId47" Type="http://schemas.openxmlformats.org/officeDocument/2006/relationships/slideLayout" Target="../slideLayouts/slideLayout57.xml"/><Relationship Id="rId63" Type="http://schemas.openxmlformats.org/officeDocument/2006/relationships/slideLayout" Target="../slideLayouts/slideLayout73.xml"/><Relationship Id="rId68" Type="http://schemas.openxmlformats.org/officeDocument/2006/relationships/slideLayout" Target="../slideLayouts/slideLayout78.xml"/><Relationship Id="rId84" Type="http://schemas.openxmlformats.org/officeDocument/2006/relationships/slideLayout" Target="../slideLayouts/slideLayout94.xml"/><Relationship Id="rId89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26.xml"/><Relationship Id="rId107" Type="http://schemas.openxmlformats.org/officeDocument/2006/relationships/oleObject" Target="../embeddings/oleObject2.bin"/><Relationship Id="rId11" Type="http://schemas.openxmlformats.org/officeDocument/2006/relationships/slideLayout" Target="../slideLayouts/slideLayout21.xml"/><Relationship Id="rId32" Type="http://schemas.openxmlformats.org/officeDocument/2006/relationships/slideLayout" Target="../slideLayouts/slideLayout42.xml"/><Relationship Id="rId37" Type="http://schemas.openxmlformats.org/officeDocument/2006/relationships/slideLayout" Target="../slideLayouts/slideLayout47.xml"/><Relationship Id="rId53" Type="http://schemas.openxmlformats.org/officeDocument/2006/relationships/slideLayout" Target="../slideLayouts/slideLayout63.xml"/><Relationship Id="rId58" Type="http://schemas.openxmlformats.org/officeDocument/2006/relationships/slideLayout" Target="../slideLayouts/slideLayout68.xml"/><Relationship Id="rId74" Type="http://schemas.openxmlformats.org/officeDocument/2006/relationships/slideLayout" Target="../slideLayouts/slideLayout84.xml"/><Relationship Id="rId79" Type="http://schemas.openxmlformats.org/officeDocument/2006/relationships/slideLayout" Target="../slideLayouts/slideLayout89.xml"/><Relationship Id="rId102" Type="http://schemas.openxmlformats.org/officeDocument/2006/relationships/slideLayout" Target="../slideLayouts/slideLayout112.xml"/><Relationship Id="rId5" Type="http://schemas.openxmlformats.org/officeDocument/2006/relationships/slideLayout" Target="../slideLayouts/slideLayout15.xml"/><Relationship Id="rId90" Type="http://schemas.openxmlformats.org/officeDocument/2006/relationships/slideLayout" Target="../slideLayouts/slideLayout100.xml"/><Relationship Id="rId95" Type="http://schemas.openxmlformats.org/officeDocument/2006/relationships/slideLayout" Target="../slideLayouts/slideLayout105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43" Type="http://schemas.openxmlformats.org/officeDocument/2006/relationships/slideLayout" Target="../slideLayouts/slideLayout53.xml"/><Relationship Id="rId48" Type="http://schemas.openxmlformats.org/officeDocument/2006/relationships/slideLayout" Target="../slideLayouts/slideLayout58.xml"/><Relationship Id="rId64" Type="http://schemas.openxmlformats.org/officeDocument/2006/relationships/slideLayout" Target="../slideLayouts/slideLayout74.xml"/><Relationship Id="rId69" Type="http://schemas.openxmlformats.org/officeDocument/2006/relationships/slideLayout" Target="../slideLayouts/slideLayout79.xml"/><Relationship Id="rId80" Type="http://schemas.openxmlformats.org/officeDocument/2006/relationships/slideLayout" Target="../slideLayouts/slideLayout90.xml"/><Relationship Id="rId85" Type="http://schemas.openxmlformats.org/officeDocument/2006/relationships/slideLayout" Target="../slideLayouts/slideLayout95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33" Type="http://schemas.openxmlformats.org/officeDocument/2006/relationships/slideLayout" Target="../slideLayouts/slideLayout43.xml"/><Relationship Id="rId38" Type="http://schemas.openxmlformats.org/officeDocument/2006/relationships/slideLayout" Target="../slideLayouts/slideLayout48.xml"/><Relationship Id="rId59" Type="http://schemas.openxmlformats.org/officeDocument/2006/relationships/slideLayout" Target="../slideLayouts/slideLayout69.xml"/><Relationship Id="rId103" Type="http://schemas.openxmlformats.org/officeDocument/2006/relationships/slideLayout" Target="../slideLayouts/slideLayout113.xml"/><Relationship Id="rId108" Type="http://schemas.openxmlformats.org/officeDocument/2006/relationships/image" Target="../media/image1.emf"/><Relationship Id="rId20" Type="http://schemas.openxmlformats.org/officeDocument/2006/relationships/slideLayout" Target="../slideLayouts/slideLayout30.xml"/><Relationship Id="rId41" Type="http://schemas.openxmlformats.org/officeDocument/2006/relationships/slideLayout" Target="../slideLayouts/slideLayout51.xml"/><Relationship Id="rId54" Type="http://schemas.openxmlformats.org/officeDocument/2006/relationships/slideLayout" Target="../slideLayouts/slideLayout64.xml"/><Relationship Id="rId62" Type="http://schemas.openxmlformats.org/officeDocument/2006/relationships/slideLayout" Target="../slideLayouts/slideLayout72.xml"/><Relationship Id="rId70" Type="http://schemas.openxmlformats.org/officeDocument/2006/relationships/slideLayout" Target="../slideLayouts/slideLayout80.xml"/><Relationship Id="rId75" Type="http://schemas.openxmlformats.org/officeDocument/2006/relationships/slideLayout" Target="../slideLayouts/slideLayout85.xml"/><Relationship Id="rId83" Type="http://schemas.openxmlformats.org/officeDocument/2006/relationships/slideLayout" Target="../slideLayouts/slideLayout93.xml"/><Relationship Id="rId88" Type="http://schemas.openxmlformats.org/officeDocument/2006/relationships/slideLayout" Target="../slideLayouts/slideLayout98.xml"/><Relationship Id="rId91" Type="http://schemas.openxmlformats.org/officeDocument/2006/relationships/slideLayout" Target="../slideLayouts/slideLayout101.xml"/><Relationship Id="rId96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36" Type="http://schemas.openxmlformats.org/officeDocument/2006/relationships/slideLayout" Target="../slideLayouts/slideLayout46.xml"/><Relationship Id="rId49" Type="http://schemas.openxmlformats.org/officeDocument/2006/relationships/slideLayout" Target="../slideLayouts/slideLayout59.xml"/><Relationship Id="rId57" Type="http://schemas.openxmlformats.org/officeDocument/2006/relationships/slideLayout" Target="../slideLayouts/slideLayout67.xml"/><Relationship Id="rId106" Type="http://schemas.openxmlformats.org/officeDocument/2006/relationships/tags" Target="../tags/tag2.xml"/><Relationship Id="rId10" Type="http://schemas.openxmlformats.org/officeDocument/2006/relationships/slideLayout" Target="../slideLayouts/slideLayout20.xml"/><Relationship Id="rId31" Type="http://schemas.openxmlformats.org/officeDocument/2006/relationships/slideLayout" Target="../slideLayouts/slideLayout41.xml"/><Relationship Id="rId44" Type="http://schemas.openxmlformats.org/officeDocument/2006/relationships/slideLayout" Target="../slideLayouts/slideLayout54.xml"/><Relationship Id="rId52" Type="http://schemas.openxmlformats.org/officeDocument/2006/relationships/slideLayout" Target="../slideLayouts/slideLayout62.xml"/><Relationship Id="rId60" Type="http://schemas.openxmlformats.org/officeDocument/2006/relationships/slideLayout" Target="../slideLayouts/slideLayout70.xml"/><Relationship Id="rId65" Type="http://schemas.openxmlformats.org/officeDocument/2006/relationships/slideLayout" Target="../slideLayouts/slideLayout75.xml"/><Relationship Id="rId73" Type="http://schemas.openxmlformats.org/officeDocument/2006/relationships/slideLayout" Target="../slideLayouts/slideLayout83.xml"/><Relationship Id="rId78" Type="http://schemas.openxmlformats.org/officeDocument/2006/relationships/slideLayout" Target="../slideLayouts/slideLayout88.xml"/><Relationship Id="rId81" Type="http://schemas.openxmlformats.org/officeDocument/2006/relationships/slideLayout" Target="../slideLayouts/slideLayout91.xml"/><Relationship Id="rId86" Type="http://schemas.openxmlformats.org/officeDocument/2006/relationships/slideLayout" Target="../slideLayouts/slideLayout96.xml"/><Relationship Id="rId94" Type="http://schemas.openxmlformats.org/officeDocument/2006/relationships/slideLayout" Target="../slideLayouts/slideLayout104.xml"/><Relationship Id="rId99" Type="http://schemas.openxmlformats.org/officeDocument/2006/relationships/slideLayout" Target="../slideLayouts/slideLayout109.xml"/><Relationship Id="rId101" Type="http://schemas.openxmlformats.org/officeDocument/2006/relationships/slideLayout" Target="../slideLayouts/slideLayout111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39" Type="http://schemas.openxmlformats.org/officeDocument/2006/relationships/slideLayout" Target="../slideLayouts/slideLayout49.xml"/><Relationship Id="rId34" Type="http://schemas.openxmlformats.org/officeDocument/2006/relationships/slideLayout" Target="../slideLayouts/slideLayout44.xml"/><Relationship Id="rId50" Type="http://schemas.openxmlformats.org/officeDocument/2006/relationships/slideLayout" Target="../slideLayouts/slideLayout60.xml"/><Relationship Id="rId55" Type="http://schemas.openxmlformats.org/officeDocument/2006/relationships/slideLayout" Target="../slideLayouts/slideLayout65.xml"/><Relationship Id="rId76" Type="http://schemas.openxmlformats.org/officeDocument/2006/relationships/slideLayout" Target="../slideLayouts/slideLayout86.xml"/><Relationship Id="rId97" Type="http://schemas.openxmlformats.org/officeDocument/2006/relationships/slideLayout" Target="../slideLayouts/slideLayout107.xml"/><Relationship Id="rId104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7.xml"/><Relationship Id="rId71" Type="http://schemas.openxmlformats.org/officeDocument/2006/relationships/slideLayout" Target="../slideLayouts/slideLayout81.xml"/><Relationship Id="rId92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12.xml"/><Relationship Id="rId29" Type="http://schemas.openxmlformats.org/officeDocument/2006/relationships/slideLayout" Target="../slideLayouts/slideLayout39.xml"/><Relationship Id="rId24" Type="http://schemas.openxmlformats.org/officeDocument/2006/relationships/slideLayout" Target="../slideLayouts/slideLayout34.xml"/><Relationship Id="rId40" Type="http://schemas.openxmlformats.org/officeDocument/2006/relationships/slideLayout" Target="../slideLayouts/slideLayout50.xml"/><Relationship Id="rId45" Type="http://schemas.openxmlformats.org/officeDocument/2006/relationships/slideLayout" Target="../slideLayouts/slideLayout55.xml"/><Relationship Id="rId66" Type="http://schemas.openxmlformats.org/officeDocument/2006/relationships/slideLayout" Target="../slideLayouts/slideLayout76.xml"/><Relationship Id="rId87" Type="http://schemas.openxmlformats.org/officeDocument/2006/relationships/slideLayout" Target="../slideLayouts/slideLayout97.xml"/><Relationship Id="rId61" Type="http://schemas.openxmlformats.org/officeDocument/2006/relationships/slideLayout" Target="../slideLayouts/slideLayout71.xml"/><Relationship Id="rId82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24.xml"/><Relationship Id="rId30" Type="http://schemas.openxmlformats.org/officeDocument/2006/relationships/slideLayout" Target="../slideLayouts/slideLayout40.xml"/><Relationship Id="rId35" Type="http://schemas.openxmlformats.org/officeDocument/2006/relationships/slideLayout" Target="../slideLayouts/slideLayout45.xml"/><Relationship Id="rId56" Type="http://schemas.openxmlformats.org/officeDocument/2006/relationships/slideLayout" Target="../slideLayouts/slideLayout66.xml"/><Relationship Id="rId77" Type="http://schemas.openxmlformats.org/officeDocument/2006/relationships/slideLayout" Target="../slideLayouts/slideLayout87.xml"/><Relationship Id="rId100" Type="http://schemas.openxmlformats.org/officeDocument/2006/relationships/slideLayout" Target="../slideLayouts/slideLayout110.xml"/><Relationship Id="rId105" Type="http://schemas.openxmlformats.org/officeDocument/2006/relationships/theme" Target="../theme/theme2.xml"/><Relationship Id="rId8" Type="http://schemas.openxmlformats.org/officeDocument/2006/relationships/slideLayout" Target="../slideLayouts/slideLayout18.xml"/><Relationship Id="rId51" Type="http://schemas.openxmlformats.org/officeDocument/2006/relationships/slideLayout" Target="../slideLayouts/slideLayout61.xml"/><Relationship Id="rId72" Type="http://schemas.openxmlformats.org/officeDocument/2006/relationships/slideLayout" Target="../slideLayouts/slideLayout82.xml"/><Relationship Id="rId93" Type="http://schemas.openxmlformats.org/officeDocument/2006/relationships/slideLayout" Target="../slideLayouts/slideLayout103.xml"/><Relationship Id="rId9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13.xml"/><Relationship Id="rId25" Type="http://schemas.openxmlformats.org/officeDocument/2006/relationships/slideLayout" Target="../slideLayouts/slideLayout35.xml"/><Relationship Id="rId46" Type="http://schemas.openxmlformats.org/officeDocument/2006/relationships/slideLayout" Target="../slideLayouts/slideLayout56.xml"/><Relationship Id="rId67" Type="http://schemas.openxmlformats.org/officeDocument/2006/relationships/slideLayout" Target="../slideLayouts/slideLayout7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2E44110-747F-BC01-7AD8-63E38BC72C6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943924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568" imgH="571" progId="TCLayout.ActiveDocument.1">
                  <p:embed/>
                </p:oleObj>
              </mc:Choice>
              <mc:Fallback>
                <p:oleObj name="think-cell Slide" r:id="rId13" imgW="568" imgH="57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2E44110-747F-BC01-7AD8-63E38BC72C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154A3C84-A572-6C98-EF4C-2471A0D245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dirty="0"/>
              <a:t>Klik om stijl te bewerken</a:t>
            </a: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380044B-C53B-8CC5-FD59-8352C3BCC6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410A4DA7-8301-3F7D-5557-CA4F285FD4D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0A8D830-BA60-4A62-9390-EDE3FAA41689}" type="datetimeFigureOut">
              <a:rPr lang="nl-NL" smtClean="0"/>
              <a:t>23-6-2025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8BC6AA6D-641D-3B28-A981-117F9FE3EF2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6F058D93-8D16-272C-3C2B-5282FAFF25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F3C0E57-84EA-4A39-92CD-04BD8139E489}" type="slidenum">
              <a:rPr lang="nl-NL" smtClean="0"/>
              <a:t>‹nr.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4905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61" r:id="rId3"/>
    <p:sldLayoutId id="2147483662" r:id="rId4"/>
    <p:sldLayoutId id="2147483664" r:id="rId5"/>
    <p:sldLayoutId id="2147483663" r:id="rId6"/>
    <p:sldLayoutId id="2147483771" r:id="rId7"/>
    <p:sldLayoutId id="2147483650" r:id="rId8"/>
    <p:sldLayoutId id="2147483654" r:id="rId9"/>
    <p:sldLayoutId id="2147483655" r:id="rId10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b="0" i="0" kern="1200">
          <a:solidFill>
            <a:schemeClr val="tx1"/>
          </a:solidFill>
          <a:latin typeface="Arial Black" panose="020B0604020202020204" pitchFamily="34" charset="0"/>
          <a:ea typeface="+mj-ea"/>
          <a:cs typeface="Arial Black" panose="020B0604020202020204" pitchFamily="34" charset="0"/>
        </a:defRPr>
      </a:lvl1pPr>
    </p:titleStyle>
    <p:bodyStyle>
      <a:lvl1pPr marL="177800" indent="-169863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tabLst/>
        <a:defRPr sz="1800" b="1" i="0" kern="1200">
          <a:solidFill>
            <a:schemeClr val="tx1"/>
          </a:solidFill>
          <a:latin typeface="Arial Black" panose="020B0604020202020204" pitchFamily="34" charset="0"/>
          <a:ea typeface="+mn-ea"/>
          <a:cs typeface="Arial Black" panose="020B0604020202020204" pitchFamily="34" charset="0"/>
        </a:defRPr>
      </a:lvl1pPr>
      <a:lvl2pPr marL="177800" indent="-1698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800" b="1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77800" indent="-1698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77800" indent="-169863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357188" indent="-179388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tabLst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l-NL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40A1D7D7-9D75-76D1-08F7-826331C765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6"/>
            </p:custDataLst>
            <p:extLst>
              <p:ext uri="{D42A27DB-BD31-4B8C-83A1-F6EECF244321}">
                <p14:modId xmlns:p14="http://schemas.microsoft.com/office/powerpoint/2010/main" val="2324851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7" imgW="568" imgH="571" progId="TCLayout.ActiveDocument.1">
                  <p:embed/>
                </p:oleObj>
              </mc:Choice>
              <mc:Fallback>
                <p:oleObj name="think-cell Slide" r:id="rId107" imgW="568" imgH="571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A1D7D7-9D75-76D1-08F7-826331C765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1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l-NL" dirty="0"/>
              <a:t>Klik om stijl te bewerk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1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 dirty="0"/>
              <a:t>Klikken om de tekststijl van het model te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ABA07E9A-3463-47D7-B44E-370DA679E528}" type="datetimeFigureOut">
              <a:rPr lang="nl-NL" smtClean="0"/>
              <a:pPr/>
              <a:t>23-6-2025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1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+mj-lt"/>
              </a:defRPr>
            </a:lvl1pPr>
          </a:lstStyle>
          <a:p>
            <a:fld id="{382CECC1-EE61-41B1-AF05-850ABA5EBA81}" type="slidenum">
              <a:rPr lang="nl-NL" smtClean="0"/>
              <a:pPr/>
              <a:t>‹nr.›</a:t>
            </a:fld>
            <a:endParaRPr lang="nl-NL"/>
          </a:p>
        </p:txBody>
      </p:sp>
      <p:sp>
        <p:nvSpPr>
          <p:cNvPr id="7" name="Oval 4">
            <a:extLst>
              <a:ext uri="{FF2B5EF4-FFF2-40B4-BE49-F238E27FC236}">
                <a16:creationId xmlns:a16="http://schemas.microsoft.com/office/drawing/2014/main" id="{4385E028-6FCB-49B0-9CF4-864613C2D4F1}"/>
              </a:ext>
            </a:extLst>
          </p:cNvPr>
          <p:cNvSpPr/>
          <p:nvPr/>
        </p:nvSpPr>
        <p:spPr>
          <a:xfrm>
            <a:off x="11120647" y="381000"/>
            <a:ext cx="310742" cy="310662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>
              <a:latin typeface="+mj-lt"/>
            </a:endParaRPr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9AAC96A6-90FB-4C70-B572-92ABEEBDC7A6}"/>
              </a:ext>
            </a:extLst>
          </p:cNvPr>
          <p:cNvSpPr txBox="1"/>
          <p:nvPr/>
        </p:nvSpPr>
        <p:spPr>
          <a:xfrm>
            <a:off x="11132549" y="451692"/>
            <a:ext cx="286938" cy="169277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ctr"/>
            <a:fld id="{C2130A1F-96FE-9345-9E91-FD9BE4197128}" type="slidenum">
              <a:rPr lang="en-US" sz="1100" b="0" i="0" spc="0" smtClean="0">
                <a:solidFill>
                  <a:schemeClr val="bg1"/>
                </a:solidFill>
                <a:latin typeface="+mj-lt"/>
                <a:cs typeface="Poppins Medium" pitchFamily="2" charset="77"/>
              </a:rPr>
              <a:pPr algn="ctr"/>
              <a:t>‹nr.›</a:t>
            </a:fld>
            <a:endParaRPr lang="en-US" sz="1100" b="0" i="0" spc="0" dirty="0">
              <a:solidFill>
                <a:schemeClr val="bg1"/>
              </a:solidFill>
              <a:latin typeface="+mj-lt"/>
              <a:cs typeface="Poppins Medium" pitchFamily="2" charset="77"/>
            </a:endParaRPr>
          </a:p>
        </p:txBody>
      </p:sp>
    </p:spTree>
    <p:extLst>
      <p:ext uri="{BB962C8B-B14F-4D97-AF65-F5344CB8AC3E}">
        <p14:creationId xmlns:p14="http://schemas.microsoft.com/office/powerpoint/2010/main" val="1912219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668" r:id="rId3"/>
    <p:sldLayoutId id="2147483669" r:id="rId4"/>
    <p:sldLayoutId id="2147483670" r:id="rId5"/>
    <p:sldLayoutId id="2147483671" r:id="rId6"/>
    <p:sldLayoutId id="2147483672" r:id="rId7"/>
    <p:sldLayoutId id="2147483673" r:id="rId8"/>
    <p:sldLayoutId id="2147483674" r:id="rId9"/>
    <p:sldLayoutId id="2147483675" r:id="rId10"/>
    <p:sldLayoutId id="2147483676" r:id="rId11"/>
    <p:sldLayoutId id="2147483678" r:id="rId12"/>
    <p:sldLayoutId id="2147483679" r:id="rId13"/>
    <p:sldLayoutId id="2147483680" r:id="rId14"/>
    <p:sldLayoutId id="2147483681" r:id="rId15"/>
    <p:sldLayoutId id="2147483682" r:id="rId16"/>
    <p:sldLayoutId id="2147483683" r:id="rId17"/>
    <p:sldLayoutId id="2147483684" r:id="rId18"/>
    <p:sldLayoutId id="2147483685" r:id="rId19"/>
    <p:sldLayoutId id="2147483686" r:id="rId20"/>
    <p:sldLayoutId id="2147483687" r:id="rId21"/>
    <p:sldLayoutId id="2147483688" r:id="rId22"/>
    <p:sldLayoutId id="2147483689" r:id="rId23"/>
    <p:sldLayoutId id="2147483690" r:id="rId24"/>
    <p:sldLayoutId id="2147483691" r:id="rId25"/>
    <p:sldLayoutId id="2147483692" r:id="rId26"/>
    <p:sldLayoutId id="2147483693" r:id="rId27"/>
    <p:sldLayoutId id="2147483694" r:id="rId28"/>
    <p:sldLayoutId id="2147483695" r:id="rId29"/>
    <p:sldLayoutId id="2147483696" r:id="rId30"/>
    <p:sldLayoutId id="2147483697" r:id="rId31"/>
    <p:sldLayoutId id="2147483698" r:id="rId32"/>
    <p:sldLayoutId id="2147483699" r:id="rId33"/>
    <p:sldLayoutId id="2147483700" r:id="rId34"/>
    <p:sldLayoutId id="2147483701" r:id="rId35"/>
    <p:sldLayoutId id="2147483702" r:id="rId36"/>
    <p:sldLayoutId id="2147483703" r:id="rId37"/>
    <p:sldLayoutId id="2147483704" r:id="rId38"/>
    <p:sldLayoutId id="2147483705" r:id="rId39"/>
    <p:sldLayoutId id="2147483706" r:id="rId40"/>
    <p:sldLayoutId id="2147483707" r:id="rId41"/>
    <p:sldLayoutId id="2147483708" r:id="rId42"/>
    <p:sldLayoutId id="2147483709" r:id="rId43"/>
    <p:sldLayoutId id="2147483710" r:id="rId44"/>
    <p:sldLayoutId id="2147483711" r:id="rId45"/>
    <p:sldLayoutId id="2147483712" r:id="rId46"/>
    <p:sldLayoutId id="2147483713" r:id="rId47"/>
    <p:sldLayoutId id="2147483714" r:id="rId48"/>
    <p:sldLayoutId id="2147483715" r:id="rId49"/>
    <p:sldLayoutId id="2147483716" r:id="rId50"/>
    <p:sldLayoutId id="2147483717" r:id="rId51"/>
    <p:sldLayoutId id="2147483718" r:id="rId52"/>
    <p:sldLayoutId id="2147483719" r:id="rId53"/>
    <p:sldLayoutId id="2147483720" r:id="rId54"/>
    <p:sldLayoutId id="2147483721" r:id="rId55"/>
    <p:sldLayoutId id="2147483722" r:id="rId56"/>
    <p:sldLayoutId id="2147483723" r:id="rId57"/>
    <p:sldLayoutId id="2147483724" r:id="rId58"/>
    <p:sldLayoutId id="2147483725" r:id="rId59"/>
    <p:sldLayoutId id="2147483726" r:id="rId60"/>
    <p:sldLayoutId id="2147483727" r:id="rId61"/>
    <p:sldLayoutId id="2147483728" r:id="rId62"/>
    <p:sldLayoutId id="2147483729" r:id="rId63"/>
    <p:sldLayoutId id="2147483730" r:id="rId64"/>
    <p:sldLayoutId id="2147483731" r:id="rId65"/>
    <p:sldLayoutId id="2147483732" r:id="rId66"/>
    <p:sldLayoutId id="2147483733" r:id="rId67"/>
    <p:sldLayoutId id="2147483734" r:id="rId68"/>
    <p:sldLayoutId id="2147483735" r:id="rId69"/>
    <p:sldLayoutId id="2147483736" r:id="rId70"/>
    <p:sldLayoutId id="2147483737" r:id="rId71"/>
    <p:sldLayoutId id="2147483738" r:id="rId72"/>
    <p:sldLayoutId id="2147483739" r:id="rId73"/>
    <p:sldLayoutId id="2147483740" r:id="rId74"/>
    <p:sldLayoutId id="2147483741" r:id="rId75"/>
    <p:sldLayoutId id="2147483742" r:id="rId76"/>
    <p:sldLayoutId id="2147483743" r:id="rId77"/>
    <p:sldLayoutId id="2147483744" r:id="rId78"/>
    <p:sldLayoutId id="2147483745" r:id="rId79"/>
    <p:sldLayoutId id="2147483746" r:id="rId80"/>
    <p:sldLayoutId id="2147483747" r:id="rId81"/>
    <p:sldLayoutId id="2147483748" r:id="rId82"/>
    <p:sldLayoutId id="2147483749" r:id="rId83"/>
    <p:sldLayoutId id="2147483750" r:id="rId84"/>
    <p:sldLayoutId id="2147483751" r:id="rId85"/>
    <p:sldLayoutId id="2147483752" r:id="rId86"/>
    <p:sldLayoutId id="2147483753" r:id="rId87"/>
    <p:sldLayoutId id="2147483754" r:id="rId88"/>
    <p:sldLayoutId id="2147483755" r:id="rId89"/>
    <p:sldLayoutId id="2147483756" r:id="rId90"/>
    <p:sldLayoutId id="2147483757" r:id="rId91"/>
    <p:sldLayoutId id="2147483758" r:id="rId92"/>
    <p:sldLayoutId id="2147483759" r:id="rId93"/>
    <p:sldLayoutId id="2147483760" r:id="rId94"/>
    <p:sldLayoutId id="2147483761" r:id="rId95"/>
    <p:sldLayoutId id="2147483762" r:id="rId96"/>
    <p:sldLayoutId id="2147483763" r:id="rId97"/>
    <p:sldLayoutId id="2147483764" r:id="rId98"/>
    <p:sldLayoutId id="2147483765" r:id="rId99"/>
    <p:sldLayoutId id="2147483766" r:id="rId100"/>
    <p:sldLayoutId id="2147483767" r:id="rId101"/>
    <p:sldLayoutId id="2147483768" r:id="rId102"/>
    <p:sldLayoutId id="2147483769" r:id="rId103"/>
    <p:sldLayoutId id="2147483770" r:id="rId104"/>
  </p:sldLayoutIdLst>
  <p:txStyles>
    <p:titleStyle>
      <a:lvl1pPr algn="l" defTabSz="914172" rtl="0" eaLnBrk="1" latinLnBrk="0" hangingPunct="1">
        <a:lnSpc>
          <a:spcPct val="90000"/>
        </a:lnSpc>
        <a:spcBef>
          <a:spcPct val="0"/>
        </a:spcBef>
        <a:buNone/>
        <a:defRPr sz="4399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43" indent="-228543" algn="l" defTabSz="914172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j-lt"/>
          <a:ea typeface="+mn-ea"/>
          <a:cs typeface="+mn-cs"/>
        </a:defRPr>
      </a:lvl1pPr>
      <a:lvl2pPr marL="6856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42715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3pPr>
      <a:lvl4pPr marL="1599800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4pPr>
      <a:lvl5pPr marL="2056886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5pPr>
      <a:lvl6pPr marL="2513972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057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143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229" indent="-228543" algn="l" defTabSz="914172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72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257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343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429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514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600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686" algn="l" defTabSz="914172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3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0.png"/><Relationship Id="rId4" Type="http://schemas.openxmlformats.org/officeDocument/2006/relationships/hyperlink" Target="http://studywise.nl/shop/davinci2025" TargetMode="Externa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2.png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3.xml"/><Relationship Id="rId6" Type="http://schemas.openxmlformats.org/officeDocument/2006/relationships/image" Target="../media/image11.png"/><Relationship Id="rId5" Type="http://schemas.openxmlformats.org/officeDocument/2006/relationships/image" Target="../media/image1.emf"/><Relationship Id="rId10" Type="http://schemas.openxmlformats.org/officeDocument/2006/relationships/image" Target="../media/image15.png"/><Relationship Id="rId4" Type="http://schemas.openxmlformats.org/officeDocument/2006/relationships/oleObject" Target="../embeddings/oleObject3.bin"/><Relationship Id="rId9" Type="http://schemas.openxmlformats.org/officeDocument/2006/relationships/image" Target="../media/image14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image" Target="../media/image5.png"/><Relationship Id="rId7" Type="http://schemas.openxmlformats.org/officeDocument/2006/relationships/image" Target="../media/image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8.svg"/><Relationship Id="rId5" Type="http://schemas.openxmlformats.org/officeDocument/2006/relationships/image" Target="../media/image17.png"/><Relationship Id="rId4" Type="http://schemas.openxmlformats.org/officeDocument/2006/relationships/image" Target="../media/image6.sv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0.svg"/><Relationship Id="rId5" Type="http://schemas.openxmlformats.org/officeDocument/2006/relationships/image" Target="../media/image19.png"/><Relationship Id="rId4" Type="http://schemas.openxmlformats.org/officeDocument/2006/relationships/image" Target="../media/image3.sv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21.png"/><Relationship Id="rId4" Type="http://schemas.openxmlformats.org/officeDocument/2006/relationships/image" Target="../media/image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Afbeelding 26" descr="Afbeelding met kleding, persoon, tafel, meubels&#10;&#10;Door AI gegenereerde inhoud is mogelijk onjuist.">
            <a:extLst>
              <a:ext uri="{FF2B5EF4-FFF2-40B4-BE49-F238E27FC236}">
                <a16:creationId xmlns:a16="http://schemas.microsoft.com/office/drawing/2014/main" id="{2F37CAFE-46A8-2BAA-FC97-1F92E160BF1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276068"/>
            <a:ext cx="12192000" cy="6857411"/>
          </a:xfrm>
          <a:prstGeom prst="rect">
            <a:avLst/>
          </a:prstGeom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ECFDC512-82FF-48C3-FF3D-6A1774EA85E3}"/>
              </a:ext>
            </a:extLst>
          </p:cNvPr>
          <p:cNvSpPr/>
          <p:nvPr/>
        </p:nvSpPr>
        <p:spPr>
          <a:xfrm>
            <a:off x="0" y="1"/>
            <a:ext cx="12192000" cy="1580910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914D4050-D8A6-914B-14D1-ADE74135758C}"/>
              </a:ext>
            </a:extLst>
          </p:cNvPr>
          <p:cNvSpPr/>
          <p:nvPr/>
        </p:nvSpPr>
        <p:spPr>
          <a:xfrm>
            <a:off x="-12569" y="6511886"/>
            <a:ext cx="12204569" cy="346109"/>
          </a:xfrm>
          <a:prstGeom prst="rect">
            <a:avLst/>
          </a:pr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14" name="Rechthoek 13">
            <a:extLst>
              <a:ext uri="{FF2B5EF4-FFF2-40B4-BE49-F238E27FC236}">
                <a16:creationId xmlns:a16="http://schemas.microsoft.com/office/drawing/2014/main" id="{C9F79C6B-6820-1125-3929-1F8B06D8B50D}"/>
              </a:ext>
            </a:extLst>
          </p:cNvPr>
          <p:cNvSpPr/>
          <p:nvPr/>
        </p:nvSpPr>
        <p:spPr>
          <a:xfrm>
            <a:off x="8520304" y="5908075"/>
            <a:ext cx="4302162" cy="61531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nl-NL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175161D4-658B-A3BC-5C16-A9BB648E1537}"/>
              </a:ext>
            </a:extLst>
          </p:cNvPr>
          <p:cNvSpPr txBox="1"/>
          <p:nvPr/>
        </p:nvSpPr>
        <p:spPr>
          <a:xfrm>
            <a:off x="4933105" y="3912122"/>
            <a:ext cx="25558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>
              <a:solidFill>
                <a:schemeClr val="bg1"/>
              </a:solidFill>
            </a:endParaRPr>
          </a:p>
        </p:txBody>
      </p:sp>
      <p:grpSp>
        <p:nvGrpSpPr>
          <p:cNvPr id="24" name="Groep 23">
            <a:extLst>
              <a:ext uri="{FF2B5EF4-FFF2-40B4-BE49-F238E27FC236}">
                <a16:creationId xmlns:a16="http://schemas.microsoft.com/office/drawing/2014/main" id="{9629D9C9-481B-0D8C-70D6-77FDFA60C5CE}"/>
              </a:ext>
            </a:extLst>
          </p:cNvPr>
          <p:cNvGrpSpPr/>
          <p:nvPr/>
        </p:nvGrpSpPr>
        <p:grpSpPr>
          <a:xfrm>
            <a:off x="8211067" y="312830"/>
            <a:ext cx="2935623" cy="977894"/>
            <a:chOff x="216620" y="3284504"/>
            <a:chExt cx="5991069" cy="1995703"/>
          </a:xfrm>
          <a:solidFill>
            <a:srgbClr val="AA8FC2"/>
          </a:solidFill>
        </p:grpSpPr>
        <p:grpSp>
          <p:nvGrpSpPr>
            <p:cNvPr id="7" name="Graphic 2">
              <a:extLst>
                <a:ext uri="{FF2B5EF4-FFF2-40B4-BE49-F238E27FC236}">
                  <a16:creationId xmlns:a16="http://schemas.microsoft.com/office/drawing/2014/main" id="{9ED41EE3-459A-6398-5108-EC61F0C3E574}"/>
                </a:ext>
              </a:extLst>
            </p:cNvPr>
            <p:cNvGrpSpPr/>
            <p:nvPr/>
          </p:nvGrpSpPr>
          <p:grpSpPr>
            <a:xfrm>
              <a:off x="477994" y="3284504"/>
              <a:ext cx="5729695" cy="970554"/>
              <a:chOff x="477994" y="3284504"/>
              <a:chExt cx="5729695" cy="970554"/>
            </a:xfrm>
            <a:grpFill/>
          </p:grpSpPr>
          <p:sp>
            <p:nvSpPr>
              <p:cNvPr id="8" name="Vrije vorm 7">
                <a:extLst>
                  <a:ext uri="{FF2B5EF4-FFF2-40B4-BE49-F238E27FC236}">
                    <a16:creationId xmlns:a16="http://schemas.microsoft.com/office/drawing/2014/main" id="{6EC147BB-C58C-D46F-3352-34F5E7C0C323}"/>
                  </a:ext>
                </a:extLst>
              </p:cNvPr>
              <p:cNvSpPr/>
              <p:nvPr/>
            </p:nvSpPr>
            <p:spPr>
              <a:xfrm>
                <a:off x="477994" y="3284504"/>
                <a:ext cx="1104206" cy="970554"/>
              </a:xfrm>
              <a:custGeom>
                <a:avLst/>
                <a:gdLst>
                  <a:gd name="connsiteX0" fmla="*/ 1104207 w 1104206"/>
                  <a:gd name="connsiteY0" fmla="*/ 646593 h 970554"/>
                  <a:gd name="connsiteX1" fmla="*/ 590591 w 1104206"/>
                  <a:gd name="connsiteY1" fmla="*/ 970555 h 970554"/>
                  <a:gd name="connsiteX2" fmla="*/ 0 w 1104206"/>
                  <a:gd name="connsiteY2" fmla="*/ 797560 h 970554"/>
                  <a:gd name="connsiteX3" fmla="*/ 157757 w 1104206"/>
                  <a:gd name="connsiteY3" fmla="*/ 615450 h 970554"/>
                  <a:gd name="connsiteX4" fmla="*/ 595824 w 1104206"/>
                  <a:gd name="connsiteY4" fmla="*/ 746858 h 970554"/>
                  <a:gd name="connsiteX5" fmla="*/ 790119 w 1104206"/>
                  <a:gd name="connsiteY5" fmla="*/ 679255 h 970554"/>
                  <a:gd name="connsiteX6" fmla="*/ 568517 w 1104206"/>
                  <a:gd name="connsiteY6" fmla="*/ 605101 h 970554"/>
                  <a:gd name="connsiteX7" fmla="*/ 39201 w 1104206"/>
                  <a:gd name="connsiteY7" fmla="*/ 308485 h 970554"/>
                  <a:gd name="connsiteX8" fmla="*/ 552722 w 1104206"/>
                  <a:gd name="connsiteY8" fmla="*/ 0 h 970554"/>
                  <a:gd name="connsiteX9" fmla="*/ 1065100 w 1104206"/>
                  <a:gd name="connsiteY9" fmla="*/ 131408 h 970554"/>
                  <a:gd name="connsiteX10" fmla="*/ 913813 w 1104206"/>
                  <a:gd name="connsiteY10" fmla="*/ 316176 h 970554"/>
                  <a:gd name="connsiteX11" fmla="*/ 552722 w 1104206"/>
                  <a:gd name="connsiteY11" fmla="*/ 221228 h 970554"/>
                  <a:gd name="connsiteX12" fmla="*/ 353289 w 1104206"/>
                  <a:gd name="connsiteY12" fmla="*/ 282374 h 970554"/>
                  <a:gd name="connsiteX13" fmla="*/ 582789 w 1104206"/>
                  <a:gd name="connsiteY13" fmla="*/ 347508 h 970554"/>
                  <a:gd name="connsiteX14" fmla="*/ 1104207 w 1104206"/>
                  <a:gd name="connsiteY14" fmla="*/ 64668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206" h="970554">
                    <a:moveTo>
                      <a:pt x="1104207" y="646593"/>
                    </a:moveTo>
                    <a:cubicBezTo>
                      <a:pt x="1104207" y="843040"/>
                      <a:pt x="928181" y="970555"/>
                      <a:pt x="590591" y="970555"/>
                    </a:cubicBezTo>
                    <a:cubicBezTo>
                      <a:pt x="353194" y="970555"/>
                      <a:pt x="147291" y="908079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858"/>
                      <a:pt x="595824" y="746858"/>
                    </a:cubicBezTo>
                    <a:cubicBezTo>
                      <a:pt x="726179" y="746858"/>
                      <a:pt x="790119" y="724735"/>
                      <a:pt x="790119" y="679255"/>
                    </a:cubicBezTo>
                    <a:cubicBezTo>
                      <a:pt x="790119" y="633775"/>
                      <a:pt x="737882" y="619438"/>
                      <a:pt x="568517" y="605101"/>
                    </a:cubicBezTo>
                    <a:cubicBezTo>
                      <a:pt x="288207" y="580320"/>
                      <a:pt x="39201" y="516610"/>
                      <a:pt x="39201" y="308485"/>
                    </a:cubicBezTo>
                    <a:cubicBezTo>
                      <a:pt x="39201" y="100360"/>
                      <a:pt x="256808" y="0"/>
                      <a:pt x="552722" y="0"/>
                    </a:cubicBezTo>
                    <a:cubicBezTo>
                      <a:pt x="744447" y="0"/>
                      <a:pt x="933509" y="44246"/>
                      <a:pt x="1065100" y="131408"/>
                    </a:cubicBezTo>
                    <a:lnTo>
                      <a:pt x="913813" y="316176"/>
                    </a:lnTo>
                    <a:cubicBezTo>
                      <a:pt x="810862" y="248573"/>
                      <a:pt x="689641" y="221228"/>
                      <a:pt x="552722" y="221228"/>
                    </a:cubicBezTo>
                    <a:cubicBezTo>
                      <a:pt x="460142" y="221228"/>
                      <a:pt x="353289" y="232907"/>
                      <a:pt x="353289" y="282374"/>
                    </a:cubicBezTo>
                    <a:cubicBezTo>
                      <a:pt x="353289" y="326620"/>
                      <a:pt x="435498" y="335735"/>
                      <a:pt x="582789" y="347508"/>
                    </a:cubicBezTo>
                    <a:cubicBezTo>
                      <a:pt x="887837" y="372195"/>
                      <a:pt x="1104207" y="430777"/>
                      <a:pt x="1104207" y="64668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0" name="Vrije vorm 9">
                <a:extLst>
                  <a:ext uri="{FF2B5EF4-FFF2-40B4-BE49-F238E27FC236}">
                    <a16:creationId xmlns:a16="http://schemas.microsoft.com/office/drawing/2014/main" id="{288C1BB3-F041-E51D-AF29-2BF286B54AE9}"/>
                  </a:ext>
                </a:extLst>
              </p:cNvPr>
              <p:cNvSpPr/>
              <p:nvPr/>
            </p:nvSpPr>
            <p:spPr>
              <a:xfrm>
                <a:off x="1618167" y="3314412"/>
                <a:ext cx="1039029" cy="910642"/>
              </a:xfrm>
              <a:custGeom>
                <a:avLst/>
                <a:gdLst>
                  <a:gd name="connsiteX0" fmla="*/ 1038934 w 1039029"/>
                  <a:gd name="connsiteY0" fmla="*/ 240692 h 910642"/>
                  <a:gd name="connsiteX1" fmla="*/ 677843 w 1039029"/>
                  <a:gd name="connsiteY1" fmla="*/ 240692 h 910642"/>
                  <a:gd name="connsiteX2" fmla="*/ 677843 w 1039029"/>
                  <a:gd name="connsiteY2" fmla="*/ 910643 h 910642"/>
                  <a:gd name="connsiteX3" fmla="*/ 359854 w 1039029"/>
                  <a:gd name="connsiteY3" fmla="*/ 910643 h 910642"/>
                  <a:gd name="connsiteX4" fmla="*/ 359854 w 1039029"/>
                  <a:gd name="connsiteY4" fmla="*/ 240692 h 910642"/>
                  <a:gd name="connsiteX5" fmla="*/ 0 w 1039029"/>
                  <a:gd name="connsiteY5" fmla="*/ 240692 h 910642"/>
                  <a:gd name="connsiteX6" fmla="*/ 0 w 1039029"/>
                  <a:gd name="connsiteY6" fmla="*/ 0 h 910642"/>
                  <a:gd name="connsiteX7" fmla="*/ 1039029 w 1039029"/>
                  <a:gd name="connsiteY7" fmla="*/ 0 h 910642"/>
                  <a:gd name="connsiteX8" fmla="*/ 1039029 w 1039029"/>
                  <a:gd name="connsiteY8" fmla="*/ 240692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029" h="910642">
                    <a:moveTo>
                      <a:pt x="1038934" y="240692"/>
                    </a:moveTo>
                    <a:lnTo>
                      <a:pt x="677843" y="240692"/>
                    </a:lnTo>
                    <a:lnTo>
                      <a:pt x="677843" y="910643"/>
                    </a:lnTo>
                    <a:lnTo>
                      <a:pt x="359854" y="910643"/>
                    </a:lnTo>
                    <a:lnTo>
                      <a:pt x="359854" y="240692"/>
                    </a:lnTo>
                    <a:lnTo>
                      <a:pt x="0" y="240692"/>
                    </a:lnTo>
                    <a:lnTo>
                      <a:pt x="0" y="0"/>
                    </a:lnTo>
                    <a:lnTo>
                      <a:pt x="1039029" y="0"/>
                    </a:lnTo>
                    <a:lnTo>
                      <a:pt x="1039029" y="240692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1" name="Vrije vorm 10">
                <a:extLst>
                  <a:ext uri="{FF2B5EF4-FFF2-40B4-BE49-F238E27FC236}">
                    <a16:creationId xmlns:a16="http://schemas.microsoft.com/office/drawing/2014/main" id="{8D93E29C-2BF3-21E4-1BA7-0FD7FBD4AB63}"/>
                  </a:ext>
                </a:extLst>
              </p:cNvPr>
              <p:cNvSpPr/>
              <p:nvPr/>
            </p:nvSpPr>
            <p:spPr>
              <a:xfrm>
                <a:off x="2778893" y="3314412"/>
                <a:ext cx="1091171" cy="940646"/>
              </a:xfrm>
              <a:custGeom>
                <a:avLst/>
                <a:gdLst>
                  <a:gd name="connsiteX0" fmla="*/ 1091171 w 1091171"/>
                  <a:gd name="connsiteY0" fmla="*/ 0 h 940646"/>
                  <a:gd name="connsiteX1" fmla="*/ 1091171 w 1091171"/>
                  <a:gd name="connsiteY1" fmla="*/ 481384 h 940646"/>
                  <a:gd name="connsiteX2" fmla="*/ 546252 w 1091171"/>
                  <a:gd name="connsiteY2" fmla="*/ 940646 h 940646"/>
                  <a:gd name="connsiteX3" fmla="*/ 0 w 1091171"/>
                  <a:gd name="connsiteY3" fmla="*/ 481384 h 940646"/>
                  <a:gd name="connsiteX4" fmla="*/ 0 w 1091171"/>
                  <a:gd name="connsiteY4" fmla="*/ 0 h 940646"/>
                  <a:gd name="connsiteX5" fmla="*/ 317989 w 1091171"/>
                  <a:gd name="connsiteY5" fmla="*/ 0 h 940646"/>
                  <a:gd name="connsiteX6" fmla="*/ 317989 w 1091171"/>
                  <a:gd name="connsiteY6" fmla="*/ 456698 h 940646"/>
                  <a:gd name="connsiteX7" fmla="*/ 546252 w 1091171"/>
                  <a:gd name="connsiteY7" fmla="*/ 689510 h 940646"/>
                  <a:gd name="connsiteX8" fmla="*/ 773087 w 1091171"/>
                  <a:gd name="connsiteY8" fmla="*/ 456698 h 940646"/>
                  <a:gd name="connsiteX9" fmla="*/ 773087 w 1091171"/>
                  <a:gd name="connsiteY9" fmla="*/ 0 h 940646"/>
                  <a:gd name="connsiteX10" fmla="*/ 1091076 w 1091171"/>
                  <a:gd name="connsiteY10" fmla="*/ 0 h 94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171" h="940646">
                    <a:moveTo>
                      <a:pt x="1091171" y="0"/>
                    </a:moveTo>
                    <a:lnTo>
                      <a:pt x="1091171" y="481384"/>
                    </a:lnTo>
                    <a:cubicBezTo>
                      <a:pt x="1091171" y="762429"/>
                      <a:pt x="895640" y="940646"/>
                      <a:pt x="546252" y="940646"/>
                    </a:cubicBezTo>
                    <a:cubicBezTo>
                      <a:pt x="196864" y="940646"/>
                      <a:pt x="0" y="762429"/>
                      <a:pt x="0" y="481384"/>
                    </a:cubicBezTo>
                    <a:lnTo>
                      <a:pt x="0" y="0"/>
                    </a:lnTo>
                    <a:lnTo>
                      <a:pt x="317989" y="0"/>
                    </a:lnTo>
                    <a:lnTo>
                      <a:pt x="317989" y="456698"/>
                    </a:lnTo>
                    <a:cubicBezTo>
                      <a:pt x="317989" y="591998"/>
                      <a:pt x="388494" y="689510"/>
                      <a:pt x="546252" y="689510"/>
                    </a:cubicBezTo>
                    <a:cubicBezTo>
                      <a:pt x="704009" y="689510"/>
                      <a:pt x="773087" y="591903"/>
                      <a:pt x="773087" y="456698"/>
                    </a:cubicBezTo>
                    <a:lnTo>
                      <a:pt x="773087" y="0"/>
                    </a:lnTo>
                    <a:lnTo>
                      <a:pt x="1091076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2" name="Vrije vorm 11">
                <a:extLst>
                  <a:ext uri="{FF2B5EF4-FFF2-40B4-BE49-F238E27FC236}">
                    <a16:creationId xmlns:a16="http://schemas.microsoft.com/office/drawing/2014/main" id="{12E8C53A-D438-AD7B-1EFC-713D957FBFAD}"/>
                  </a:ext>
                </a:extLst>
              </p:cNvPr>
              <p:cNvSpPr/>
              <p:nvPr/>
            </p:nvSpPr>
            <p:spPr>
              <a:xfrm>
                <a:off x="4018116" y="3314412"/>
                <a:ext cx="1113340" cy="910737"/>
              </a:xfrm>
              <a:custGeom>
                <a:avLst/>
                <a:gdLst>
                  <a:gd name="connsiteX0" fmla="*/ 1113341 w 1113340"/>
                  <a:gd name="connsiteY0" fmla="*/ 455369 h 910737"/>
                  <a:gd name="connsiteX1" fmla="*/ 531979 w 1113340"/>
                  <a:gd name="connsiteY1" fmla="*/ 910738 h 910737"/>
                  <a:gd name="connsiteX2" fmla="*/ 0 w 1113340"/>
                  <a:gd name="connsiteY2" fmla="*/ 910738 h 910737"/>
                  <a:gd name="connsiteX3" fmla="*/ 0 w 1113340"/>
                  <a:gd name="connsiteY3" fmla="*/ 0 h 910737"/>
                  <a:gd name="connsiteX4" fmla="*/ 531979 w 1113340"/>
                  <a:gd name="connsiteY4" fmla="*/ 0 h 910737"/>
                  <a:gd name="connsiteX5" fmla="*/ 1113341 w 1113340"/>
                  <a:gd name="connsiteY5" fmla="*/ 455369 h 910737"/>
                  <a:gd name="connsiteX6" fmla="*/ 788692 w 1113340"/>
                  <a:gd name="connsiteY6" fmla="*/ 455369 h 910737"/>
                  <a:gd name="connsiteX7" fmla="*/ 505813 w 1113340"/>
                  <a:gd name="connsiteY7" fmla="*/ 242021 h 910737"/>
                  <a:gd name="connsiteX8" fmla="*/ 318179 w 1113340"/>
                  <a:gd name="connsiteY8" fmla="*/ 242021 h 910737"/>
                  <a:gd name="connsiteX9" fmla="*/ 318179 w 1113340"/>
                  <a:gd name="connsiteY9" fmla="*/ 668716 h 910737"/>
                  <a:gd name="connsiteX10" fmla="*/ 505813 w 1113340"/>
                  <a:gd name="connsiteY10" fmla="*/ 668716 h 910737"/>
                  <a:gd name="connsiteX11" fmla="*/ 788692 w 1113340"/>
                  <a:gd name="connsiteY11" fmla="*/ 455369 h 91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3340" h="910737">
                    <a:moveTo>
                      <a:pt x="1113341" y="455369"/>
                    </a:moveTo>
                    <a:cubicBezTo>
                      <a:pt x="1113341" y="742870"/>
                      <a:pt x="886505" y="910738"/>
                      <a:pt x="531979" y="910738"/>
                    </a:cubicBezTo>
                    <a:lnTo>
                      <a:pt x="0" y="910738"/>
                    </a:lnTo>
                    <a:lnTo>
                      <a:pt x="0" y="0"/>
                    </a:lnTo>
                    <a:lnTo>
                      <a:pt x="531979" y="0"/>
                    </a:lnTo>
                    <a:cubicBezTo>
                      <a:pt x="886505" y="0"/>
                      <a:pt x="1113341" y="166538"/>
                      <a:pt x="1113341" y="455369"/>
                    </a:cubicBezTo>
                    <a:close/>
                    <a:moveTo>
                      <a:pt x="788692" y="455369"/>
                    </a:moveTo>
                    <a:cubicBezTo>
                      <a:pt x="788692" y="317505"/>
                      <a:pt x="680507" y="242021"/>
                      <a:pt x="505813" y="242021"/>
                    </a:cubicBezTo>
                    <a:lnTo>
                      <a:pt x="318179" y="242021"/>
                    </a:lnTo>
                    <a:lnTo>
                      <a:pt x="318179" y="668716"/>
                    </a:lnTo>
                    <a:lnTo>
                      <a:pt x="505813" y="668716"/>
                    </a:lnTo>
                    <a:cubicBezTo>
                      <a:pt x="680507" y="668716"/>
                      <a:pt x="788692" y="593328"/>
                      <a:pt x="788692" y="455369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3" name="Vrije vorm 12">
                <a:extLst>
                  <a:ext uri="{FF2B5EF4-FFF2-40B4-BE49-F238E27FC236}">
                    <a16:creationId xmlns:a16="http://schemas.microsoft.com/office/drawing/2014/main" id="{8FEDC038-FE46-D37A-7170-DDC3FC2AFF91}"/>
                  </a:ext>
                </a:extLst>
              </p:cNvPr>
              <p:cNvSpPr/>
              <p:nvPr/>
            </p:nvSpPr>
            <p:spPr>
              <a:xfrm>
                <a:off x="5052578" y="3314412"/>
                <a:ext cx="1155111" cy="910642"/>
              </a:xfrm>
              <a:custGeom>
                <a:avLst/>
                <a:gdLst>
                  <a:gd name="connsiteX0" fmla="*/ 350720 w 1155111"/>
                  <a:gd name="connsiteY0" fmla="*/ 0 h 910642"/>
                  <a:gd name="connsiteX1" fmla="*/ 578888 w 1155111"/>
                  <a:gd name="connsiteY1" fmla="*/ 361656 h 910642"/>
                  <a:gd name="connsiteX2" fmla="*/ 805723 w 1155111"/>
                  <a:gd name="connsiteY2" fmla="*/ 0 h 910642"/>
                  <a:gd name="connsiteX3" fmla="*/ 1155112 w 1155111"/>
                  <a:gd name="connsiteY3" fmla="*/ 0 h 910642"/>
                  <a:gd name="connsiteX4" fmla="*/ 736645 w 1155111"/>
                  <a:gd name="connsiteY4" fmla="*/ 607570 h 910642"/>
                  <a:gd name="connsiteX5" fmla="*/ 736645 w 1155111"/>
                  <a:gd name="connsiteY5" fmla="*/ 910643 h 910642"/>
                  <a:gd name="connsiteX6" fmla="*/ 418466 w 1155111"/>
                  <a:gd name="connsiteY6" fmla="*/ 910643 h 910642"/>
                  <a:gd name="connsiteX7" fmla="*/ 418466 w 1155111"/>
                  <a:gd name="connsiteY7" fmla="*/ 607570 h 910642"/>
                  <a:gd name="connsiteX8" fmla="*/ 0 w 1155111"/>
                  <a:gd name="connsiteY8" fmla="*/ 0 h 910642"/>
                  <a:gd name="connsiteX9" fmla="*/ 350720 w 1155111"/>
                  <a:gd name="connsiteY9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5111" h="910642">
                    <a:moveTo>
                      <a:pt x="350720" y="0"/>
                    </a:moveTo>
                    <a:lnTo>
                      <a:pt x="578888" y="361656"/>
                    </a:lnTo>
                    <a:lnTo>
                      <a:pt x="805723" y="0"/>
                    </a:lnTo>
                    <a:lnTo>
                      <a:pt x="1155112" y="0"/>
                    </a:lnTo>
                    <a:lnTo>
                      <a:pt x="736645" y="607570"/>
                    </a:lnTo>
                    <a:lnTo>
                      <a:pt x="736645" y="910643"/>
                    </a:lnTo>
                    <a:lnTo>
                      <a:pt x="418466" y="910643"/>
                    </a:lnTo>
                    <a:lnTo>
                      <a:pt x="418466" y="607570"/>
                    </a:lnTo>
                    <a:lnTo>
                      <a:pt x="0" y="0"/>
                    </a:lnTo>
                    <a:lnTo>
                      <a:pt x="350720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15" name="Graphic 2">
              <a:extLst>
                <a:ext uri="{FF2B5EF4-FFF2-40B4-BE49-F238E27FC236}">
                  <a16:creationId xmlns:a16="http://schemas.microsoft.com/office/drawing/2014/main" id="{9ECB5A40-07FE-1718-795B-FA4CC470CF12}"/>
                </a:ext>
              </a:extLst>
            </p:cNvPr>
            <p:cNvGrpSpPr/>
            <p:nvPr/>
          </p:nvGrpSpPr>
          <p:grpSpPr>
            <a:xfrm>
              <a:off x="216620" y="4309653"/>
              <a:ext cx="4438329" cy="970554"/>
              <a:chOff x="216620" y="4309653"/>
              <a:chExt cx="4438329" cy="970554"/>
            </a:xfrm>
            <a:grpFill/>
          </p:grpSpPr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728BDED3-D6B7-890C-4A20-C0B067C0AEF5}"/>
                  </a:ext>
                </a:extLst>
              </p:cNvPr>
              <p:cNvSpPr/>
              <p:nvPr/>
            </p:nvSpPr>
            <p:spPr>
              <a:xfrm>
                <a:off x="216620" y="4339656"/>
                <a:ext cx="1662256" cy="910642"/>
              </a:xfrm>
              <a:custGeom>
                <a:avLst/>
                <a:gdLst>
                  <a:gd name="connsiteX0" fmla="*/ 1662162 w 1662256"/>
                  <a:gd name="connsiteY0" fmla="*/ 0 h 910642"/>
                  <a:gd name="connsiteX1" fmla="*/ 1329710 w 1662256"/>
                  <a:gd name="connsiteY1" fmla="*/ 910643 h 910642"/>
                  <a:gd name="connsiteX2" fmla="*/ 1018192 w 1662256"/>
                  <a:gd name="connsiteY2" fmla="*/ 910643 h 910642"/>
                  <a:gd name="connsiteX3" fmla="*/ 831794 w 1662256"/>
                  <a:gd name="connsiteY3" fmla="*/ 326525 h 910642"/>
                  <a:gd name="connsiteX4" fmla="*/ 644065 w 1662256"/>
                  <a:gd name="connsiteY4" fmla="*/ 910643 h 910642"/>
                  <a:gd name="connsiteX5" fmla="*/ 332451 w 1662256"/>
                  <a:gd name="connsiteY5" fmla="*/ 910643 h 910642"/>
                  <a:gd name="connsiteX6" fmla="*/ 0 w 1662256"/>
                  <a:gd name="connsiteY6" fmla="*/ 0 h 910642"/>
                  <a:gd name="connsiteX7" fmla="*/ 319416 w 1662256"/>
                  <a:gd name="connsiteY7" fmla="*/ 0 h 910642"/>
                  <a:gd name="connsiteX8" fmla="*/ 496679 w 1662256"/>
                  <a:gd name="connsiteY8" fmla="*/ 582788 h 910642"/>
                  <a:gd name="connsiteX9" fmla="*/ 690974 w 1662256"/>
                  <a:gd name="connsiteY9" fmla="*/ 0 h 910642"/>
                  <a:gd name="connsiteX10" fmla="*/ 976516 w 1662256"/>
                  <a:gd name="connsiteY10" fmla="*/ 0 h 910642"/>
                  <a:gd name="connsiteX11" fmla="*/ 1170811 w 1662256"/>
                  <a:gd name="connsiteY11" fmla="*/ 582788 h 910642"/>
                  <a:gd name="connsiteX12" fmla="*/ 1348074 w 1662256"/>
                  <a:gd name="connsiteY12" fmla="*/ 0 h 910642"/>
                  <a:gd name="connsiteX13" fmla="*/ 1662257 w 1662256"/>
                  <a:gd name="connsiteY13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2256" h="910642">
                    <a:moveTo>
                      <a:pt x="1662162" y="0"/>
                    </a:moveTo>
                    <a:lnTo>
                      <a:pt x="1329710" y="910643"/>
                    </a:lnTo>
                    <a:lnTo>
                      <a:pt x="1018192" y="910643"/>
                    </a:lnTo>
                    <a:lnTo>
                      <a:pt x="831794" y="326525"/>
                    </a:lnTo>
                    <a:lnTo>
                      <a:pt x="644065" y="910643"/>
                    </a:lnTo>
                    <a:lnTo>
                      <a:pt x="332451" y="910643"/>
                    </a:lnTo>
                    <a:lnTo>
                      <a:pt x="0" y="0"/>
                    </a:lnTo>
                    <a:lnTo>
                      <a:pt x="319416" y="0"/>
                    </a:lnTo>
                    <a:lnTo>
                      <a:pt x="496679" y="582788"/>
                    </a:lnTo>
                    <a:lnTo>
                      <a:pt x="690974" y="0"/>
                    </a:lnTo>
                    <a:lnTo>
                      <a:pt x="976516" y="0"/>
                    </a:lnTo>
                    <a:lnTo>
                      <a:pt x="1170811" y="582788"/>
                    </a:lnTo>
                    <a:lnTo>
                      <a:pt x="1348074" y="0"/>
                    </a:lnTo>
                    <a:lnTo>
                      <a:pt x="1662257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D52D47C0-2F06-BF8F-8A56-4FB225E7AB3E}"/>
                  </a:ext>
                </a:extLst>
              </p:cNvPr>
              <p:cNvSpPr/>
              <p:nvPr/>
            </p:nvSpPr>
            <p:spPr>
              <a:xfrm>
                <a:off x="1977451" y="4339656"/>
                <a:ext cx="318178" cy="910642"/>
              </a:xfrm>
              <a:custGeom>
                <a:avLst/>
                <a:gdLst>
                  <a:gd name="connsiteX0" fmla="*/ 0 w 318178"/>
                  <a:gd name="connsiteY0" fmla="*/ 910643 h 910642"/>
                  <a:gd name="connsiteX1" fmla="*/ 0 w 318178"/>
                  <a:gd name="connsiteY1" fmla="*/ 0 h 910642"/>
                  <a:gd name="connsiteX2" fmla="*/ 318179 w 318178"/>
                  <a:gd name="connsiteY2" fmla="*/ 0 h 910642"/>
                  <a:gd name="connsiteX3" fmla="*/ 318179 w 318178"/>
                  <a:gd name="connsiteY3" fmla="*/ 910643 h 910642"/>
                  <a:gd name="connsiteX4" fmla="*/ 0 w 318178"/>
                  <a:gd name="connsiteY4" fmla="*/ 910643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78" h="910642">
                    <a:moveTo>
                      <a:pt x="0" y="910643"/>
                    </a:moveTo>
                    <a:lnTo>
                      <a:pt x="0" y="0"/>
                    </a:lnTo>
                    <a:lnTo>
                      <a:pt x="318179" y="0"/>
                    </a:lnTo>
                    <a:lnTo>
                      <a:pt x="318179" y="910643"/>
                    </a:lnTo>
                    <a:lnTo>
                      <a:pt x="0" y="910643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A41266B2-A32D-B193-275F-F644FC016741}"/>
                  </a:ext>
                </a:extLst>
              </p:cNvPr>
              <p:cNvSpPr/>
              <p:nvPr/>
            </p:nvSpPr>
            <p:spPr>
              <a:xfrm>
                <a:off x="2414471" y="4309653"/>
                <a:ext cx="1104492" cy="970554"/>
              </a:xfrm>
              <a:custGeom>
                <a:avLst/>
                <a:gdLst>
                  <a:gd name="connsiteX0" fmla="*/ 1104302 w 1104492"/>
                  <a:gd name="connsiteY0" fmla="*/ 646593 h 970554"/>
                  <a:gd name="connsiteX1" fmla="*/ 590591 w 1104492"/>
                  <a:gd name="connsiteY1" fmla="*/ 970555 h 970554"/>
                  <a:gd name="connsiteX2" fmla="*/ 0 w 1104492"/>
                  <a:gd name="connsiteY2" fmla="*/ 797560 h 970554"/>
                  <a:gd name="connsiteX3" fmla="*/ 157757 w 1104492"/>
                  <a:gd name="connsiteY3" fmla="*/ 615450 h 970554"/>
                  <a:gd name="connsiteX4" fmla="*/ 595824 w 1104492"/>
                  <a:gd name="connsiteY4" fmla="*/ 746763 h 970554"/>
                  <a:gd name="connsiteX5" fmla="*/ 790119 w 1104492"/>
                  <a:gd name="connsiteY5" fmla="*/ 679065 h 970554"/>
                  <a:gd name="connsiteX6" fmla="*/ 568516 w 1104492"/>
                  <a:gd name="connsiteY6" fmla="*/ 604911 h 970554"/>
                  <a:gd name="connsiteX7" fmla="*/ 39201 w 1104492"/>
                  <a:gd name="connsiteY7" fmla="*/ 308295 h 970554"/>
                  <a:gd name="connsiteX8" fmla="*/ 552912 w 1104492"/>
                  <a:gd name="connsiteY8" fmla="*/ 0 h 970554"/>
                  <a:gd name="connsiteX9" fmla="*/ 1065291 w 1104492"/>
                  <a:gd name="connsiteY9" fmla="*/ 131313 h 970554"/>
                  <a:gd name="connsiteX10" fmla="*/ 914098 w 1104492"/>
                  <a:gd name="connsiteY10" fmla="*/ 316081 h 970554"/>
                  <a:gd name="connsiteX11" fmla="*/ 553007 w 1104492"/>
                  <a:gd name="connsiteY11" fmla="*/ 221038 h 970554"/>
                  <a:gd name="connsiteX12" fmla="*/ 353574 w 1104492"/>
                  <a:gd name="connsiteY12" fmla="*/ 282279 h 970554"/>
                  <a:gd name="connsiteX13" fmla="*/ 582979 w 1104492"/>
                  <a:gd name="connsiteY13" fmla="*/ 347318 h 970554"/>
                  <a:gd name="connsiteX14" fmla="*/ 1104492 w 1104492"/>
                  <a:gd name="connsiteY14" fmla="*/ 64649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492" h="970554">
                    <a:moveTo>
                      <a:pt x="1104302" y="646593"/>
                    </a:moveTo>
                    <a:cubicBezTo>
                      <a:pt x="1104302" y="843135"/>
                      <a:pt x="928276" y="970555"/>
                      <a:pt x="590591" y="970555"/>
                    </a:cubicBezTo>
                    <a:cubicBezTo>
                      <a:pt x="353384" y="970555"/>
                      <a:pt x="147386" y="908174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763"/>
                      <a:pt x="595824" y="746763"/>
                    </a:cubicBezTo>
                    <a:cubicBezTo>
                      <a:pt x="726274" y="746763"/>
                      <a:pt x="790119" y="724640"/>
                      <a:pt x="790119" y="679065"/>
                    </a:cubicBezTo>
                    <a:cubicBezTo>
                      <a:pt x="790119" y="633491"/>
                      <a:pt x="737977" y="619343"/>
                      <a:pt x="568516" y="604911"/>
                    </a:cubicBezTo>
                    <a:cubicBezTo>
                      <a:pt x="288302" y="580225"/>
                      <a:pt x="39201" y="516420"/>
                      <a:pt x="39201" y="308295"/>
                    </a:cubicBezTo>
                    <a:cubicBezTo>
                      <a:pt x="39201" y="100170"/>
                      <a:pt x="256903" y="0"/>
                      <a:pt x="552912" y="0"/>
                    </a:cubicBezTo>
                    <a:cubicBezTo>
                      <a:pt x="744542" y="0"/>
                      <a:pt x="933604" y="44151"/>
                      <a:pt x="1065291" y="131313"/>
                    </a:cubicBezTo>
                    <a:lnTo>
                      <a:pt x="914098" y="316081"/>
                    </a:lnTo>
                    <a:cubicBezTo>
                      <a:pt x="811052" y="248383"/>
                      <a:pt x="689832" y="221038"/>
                      <a:pt x="553007" y="221038"/>
                    </a:cubicBezTo>
                    <a:cubicBezTo>
                      <a:pt x="460427" y="221038"/>
                      <a:pt x="353574" y="232812"/>
                      <a:pt x="353574" y="282279"/>
                    </a:cubicBezTo>
                    <a:cubicBezTo>
                      <a:pt x="353574" y="326430"/>
                      <a:pt x="435688" y="335545"/>
                      <a:pt x="582979" y="347318"/>
                    </a:cubicBezTo>
                    <a:cubicBezTo>
                      <a:pt x="888028" y="372005"/>
                      <a:pt x="1104492" y="430588"/>
                      <a:pt x="1104492" y="64649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3" name="Vrije vorm 22">
                <a:extLst>
                  <a:ext uri="{FF2B5EF4-FFF2-40B4-BE49-F238E27FC236}">
                    <a16:creationId xmlns:a16="http://schemas.microsoft.com/office/drawing/2014/main" id="{FB18105F-8FDC-D415-D2D2-EB4F605F7462}"/>
                  </a:ext>
                </a:extLst>
              </p:cNvPr>
              <p:cNvSpPr/>
              <p:nvPr/>
            </p:nvSpPr>
            <p:spPr>
              <a:xfrm>
                <a:off x="3652362" y="4339656"/>
                <a:ext cx="1002587" cy="910642"/>
              </a:xfrm>
              <a:custGeom>
                <a:avLst/>
                <a:gdLst>
                  <a:gd name="connsiteX0" fmla="*/ 1002492 w 1002587"/>
                  <a:gd name="connsiteY0" fmla="*/ 681629 h 910642"/>
                  <a:gd name="connsiteX1" fmla="*/ 1002492 w 1002587"/>
                  <a:gd name="connsiteY1" fmla="*/ 910643 h 910642"/>
                  <a:gd name="connsiteX2" fmla="*/ 0 w 1002587"/>
                  <a:gd name="connsiteY2" fmla="*/ 910643 h 910642"/>
                  <a:gd name="connsiteX3" fmla="*/ 0 w 1002587"/>
                  <a:gd name="connsiteY3" fmla="*/ 0 h 910642"/>
                  <a:gd name="connsiteX4" fmla="*/ 988220 w 1002587"/>
                  <a:gd name="connsiteY4" fmla="*/ 0 h 910642"/>
                  <a:gd name="connsiteX5" fmla="*/ 988220 w 1002587"/>
                  <a:gd name="connsiteY5" fmla="*/ 229014 h 910642"/>
                  <a:gd name="connsiteX6" fmla="*/ 311614 w 1002587"/>
                  <a:gd name="connsiteY6" fmla="*/ 229014 h 910642"/>
                  <a:gd name="connsiteX7" fmla="*/ 311614 w 1002587"/>
                  <a:gd name="connsiteY7" fmla="*/ 344755 h 910642"/>
                  <a:gd name="connsiteX8" fmla="*/ 863098 w 1002587"/>
                  <a:gd name="connsiteY8" fmla="*/ 344755 h 910642"/>
                  <a:gd name="connsiteX9" fmla="*/ 863098 w 1002587"/>
                  <a:gd name="connsiteY9" fmla="*/ 555444 h 910642"/>
                  <a:gd name="connsiteX10" fmla="*/ 311614 w 1002587"/>
                  <a:gd name="connsiteY10" fmla="*/ 555444 h 910642"/>
                  <a:gd name="connsiteX11" fmla="*/ 311614 w 1002587"/>
                  <a:gd name="connsiteY11" fmla="*/ 681629 h 910642"/>
                  <a:gd name="connsiteX12" fmla="*/ 1002587 w 1002587"/>
                  <a:gd name="connsiteY12" fmla="*/ 681629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2587" h="910642">
                    <a:moveTo>
                      <a:pt x="1002492" y="681629"/>
                    </a:moveTo>
                    <a:lnTo>
                      <a:pt x="1002492" y="910643"/>
                    </a:lnTo>
                    <a:lnTo>
                      <a:pt x="0" y="910643"/>
                    </a:lnTo>
                    <a:lnTo>
                      <a:pt x="0" y="0"/>
                    </a:lnTo>
                    <a:lnTo>
                      <a:pt x="988220" y="0"/>
                    </a:lnTo>
                    <a:lnTo>
                      <a:pt x="988220" y="229014"/>
                    </a:lnTo>
                    <a:lnTo>
                      <a:pt x="311614" y="229014"/>
                    </a:lnTo>
                    <a:lnTo>
                      <a:pt x="311614" y="344755"/>
                    </a:lnTo>
                    <a:lnTo>
                      <a:pt x="863098" y="344755"/>
                    </a:lnTo>
                    <a:lnTo>
                      <a:pt x="863098" y="555444"/>
                    </a:lnTo>
                    <a:lnTo>
                      <a:pt x="311614" y="555444"/>
                    </a:lnTo>
                    <a:lnTo>
                      <a:pt x="311614" y="681629"/>
                    </a:lnTo>
                    <a:lnTo>
                      <a:pt x="1002587" y="681629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sp>
        <p:nvSpPr>
          <p:cNvPr id="29" name="Vrije vorm 28">
            <a:extLst>
              <a:ext uri="{FF2B5EF4-FFF2-40B4-BE49-F238E27FC236}">
                <a16:creationId xmlns:a16="http://schemas.microsoft.com/office/drawing/2014/main" id="{05E9102F-8345-39CE-FF6E-DD81F99D9ABE}"/>
              </a:ext>
            </a:extLst>
          </p:cNvPr>
          <p:cNvSpPr/>
          <p:nvPr/>
        </p:nvSpPr>
        <p:spPr>
          <a:xfrm>
            <a:off x="-126621" y="828952"/>
            <a:ext cx="7907676" cy="1194261"/>
          </a:xfrm>
          <a:custGeom>
            <a:avLst/>
            <a:gdLst>
              <a:gd name="connsiteX0" fmla="*/ 0 w 8208057"/>
              <a:gd name="connsiteY0" fmla="*/ 0 h 1239626"/>
              <a:gd name="connsiteX1" fmla="*/ 1 w 8208057"/>
              <a:gd name="connsiteY1" fmla="*/ 0 h 1239626"/>
              <a:gd name="connsiteX2" fmla="*/ 206608 w 8208057"/>
              <a:gd name="connsiteY2" fmla="*/ 0 h 1239626"/>
              <a:gd name="connsiteX3" fmla="*/ 7291911 w 8208057"/>
              <a:gd name="connsiteY3" fmla="*/ 0 h 1239626"/>
              <a:gd name="connsiteX4" fmla="*/ 8001448 w 8208057"/>
              <a:gd name="connsiteY4" fmla="*/ 0 h 1239626"/>
              <a:gd name="connsiteX5" fmla="*/ 8208057 w 8208057"/>
              <a:gd name="connsiteY5" fmla="*/ 0 h 1239626"/>
              <a:gd name="connsiteX6" fmla="*/ 8208057 w 8208057"/>
              <a:gd name="connsiteY6" fmla="*/ 615310 h 1239626"/>
              <a:gd name="connsiteX7" fmla="*/ 8208056 w 8208057"/>
              <a:gd name="connsiteY7" fmla="*/ 615310 h 1239626"/>
              <a:gd name="connsiteX8" fmla="*/ 8208056 w 8208057"/>
              <a:gd name="connsiteY8" fmla="*/ 1033018 h 1239626"/>
              <a:gd name="connsiteX9" fmla="*/ 8001448 w 8208057"/>
              <a:gd name="connsiteY9" fmla="*/ 1239626 h 1239626"/>
              <a:gd name="connsiteX10" fmla="*/ 7291911 w 8208057"/>
              <a:gd name="connsiteY10" fmla="*/ 1239626 h 1239626"/>
              <a:gd name="connsiteX11" fmla="*/ 206608 w 8208057"/>
              <a:gd name="connsiteY11" fmla="*/ 1239626 h 1239626"/>
              <a:gd name="connsiteX12" fmla="*/ 0 w 8208057"/>
              <a:gd name="connsiteY12" fmla="*/ 1239626 h 1239626"/>
              <a:gd name="connsiteX13" fmla="*/ 0 w 8208057"/>
              <a:gd name="connsiteY13" fmla="*/ 1033018 h 1239626"/>
              <a:gd name="connsiteX14" fmla="*/ 0 w 8208057"/>
              <a:gd name="connsiteY14" fmla="*/ 206608 h 123962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8208057" h="1239626">
                <a:moveTo>
                  <a:pt x="0" y="0"/>
                </a:moveTo>
                <a:lnTo>
                  <a:pt x="1" y="0"/>
                </a:lnTo>
                <a:lnTo>
                  <a:pt x="206608" y="0"/>
                </a:lnTo>
                <a:lnTo>
                  <a:pt x="7291911" y="0"/>
                </a:lnTo>
                <a:lnTo>
                  <a:pt x="8001448" y="0"/>
                </a:lnTo>
                <a:lnTo>
                  <a:pt x="8208057" y="0"/>
                </a:lnTo>
                <a:lnTo>
                  <a:pt x="8208057" y="615310"/>
                </a:lnTo>
                <a:lnTo>
                  <a:pt x="8208056" y="615310"/>
                </a:lnTo>
                <a:lnTo>
                  <a:pt x="8208056" y="1033018"/>
                </a:lnTo>
                <a:cubicBezTo>
                  <a:pt x="8208056" y="1147124"/>
                  <a:pt x="8115554" y="1239626"/>
                  <a:pt x="8001448" y="1239626"/>
                </a:cubicBezTo>
                <a:lnTo>
                  <a:pt x="7291911" y="1239626"/>
                </a:lnTo>
                <a:lnTo>
                  <a:pt x="206608" y="1239626"/>
                </a:lnTo>
                <a:lnTo>
                  <a:pt x="0" y="1239626"/>
                </a:lnTo>
                <a:lnTo>
                  <a:pt x="0" y="1033018"/>
                </a:lnTo>
                <a:lnTo>
                  <a:pt x="0" y="206608"/>
                </a:lnTo>
                <a:close/>
              </a:path>
            </a:pathLst>
          </a:cu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/>
          </a:p>
        </p:txBody>
      </p:sp>
      <p:sp>
        <p:nvSpPr>
          <p:cNvPr id="2" name="Tekstvak 1">
            <a:extLst>
              <a:ext uri="{FF2B5EF4-FFF2-40B4-BE49-F238E27FC236}">
                <a16:creationId xmlns:a16="http://schemas.microsoft.com/office/drawing/2014/main" id="{8CEC51E4-F842-2336-1CAF-A1F83E39BE79}"/>
              </a:ext>
            </a:extLst>
          </p:cNvPr>
          <p:cNvSpPr txBox="1"/>
          <p:nvPr/>
        </p:nvSpPr>
        <p:spPr>
          <a:xfrm>
            <a:off x="0" y="989175"/>
            <a:ext cx="10259227" cy="833663"/>
          </a:xfrm>
          <a:prstGeom prst="rect">
            <a:avLst/>
          </a:prstGeom>
          <a:noFill/>
        </p:spPr>
        <p:txBody>
          <a:bodyPr wrap="square" lIns="540000" tIns="108000" bIns="108000" rtlCol="0" anchor="b" anchorCtr="0">
            <a:spAutoFit/>
          </a:bodyPr>
          <a:lstStyle/>
          <a:p>
            <a:r>
              <a:rPr lang="nl-NL" sz="4000" b="1" dirty="0">
                <a:solidFill>
                  <a:schemeClr val="bg1"/>
                </a:solidFill>
                <a:latin typeface="Montserrat" panose="00000500000000000000" pitchFamily="2" charset="0"/>
                <a:cs typeface="Arial Black" panose="020B0604020202020204" pitchFamily="34" charset="0"/>
              </a:rPr>
              <a:t>Voor gemak &amp; zekerheid</a:t>
            </a:r>
          </a:p>
        </p:txBody>
      </p:sp>
      <p:sp>
        <p:nvSpPr>
          <p:cNvPr id="31" name="Tekstvak 30">
            <a:extLst>
              <a:ext uri="{FF2B5EF4-FFF2-40B4-BE49-F238E27FC236}">
                <a16:creationId xmlns:a16="http://schemas.microsoft.com/office/drawing/2014/main" id="{7D32DC3C-A4F2-2485-714B-82F0D30B38F2}"/>
              </a:ext>
            </a:extLst>
          </p:cNvPr>
          <p:cNvSpPr txBox="1"/>
          <p:nvPr/>
        </p:nvSpPr>
        <p:spPr>
          <a:xfrm>
            <a:off x="4782458" y="6421997"/>
            <a:ext cx="8195486" cy="525886"/>
          </a:xfrm>
          <a:prstGeom prst="rect">
            <a:avLst/>
          </a:prstGeom>
          <a:noFill/>
        </p:spPr>
        <p:txBody>
          <a:bodyPr wrap="square" lIns="540000" tIns="108000" bIns="108000" rtlCol="0" anchor="b" anchorCtr="0">
            <a:spAutoFit/>
          </a:bodyPr>
          <a:lstStyle/>
          <a:p>
            <a:r>
              <a:rPr lang="nl-NL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é juiste laptop</a:t>
            </a:r>
            <a:r>
              <a:rPr lang="nl-NL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 voor studenten op </a:t>
            </a:r>
            <a:r>
              <a:rPr lang="nl-NL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bo</a:t>
            </a:r>
            <a:r>
              <a:rPr lang="nl-NL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, hbo en </a:t>
            </a:r>
            <a:r>
              <a:rPr lang="nl-NL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nl-NL" sz="2000" dirty="0">
                <a:solidFill>
                  <a:schemeClr val="bg1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rPr>
              <a:t>niversiteit</a:t>
            </a:r>
            <a:endParaRPr lang="nl-NL" sz="20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822615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BDFF8B56-1689-FF77-B503-29B3AFC91228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870391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">
        <p:fade/>
      </p:transition>
    </mc:Choice>
    <mc:Fallback xmlns="">
      <p:transition spd="med" advClick="0" advTm="500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Afbeelding 16" descr="Afbeelding met elektronica, persoon, computer, computer&#10;&#10;Door AI gegenereerde inhoud is mogelijk onjuist.">
            <a:extLst>
              <a:ext uri="{FF2B5EF4-FFF2-40B4-BE49-F238E27FC236}">
                <a16:creationId xmlns:a16="http://schemas.microsoft.com/office/drawing/2014/main" id="{732B9634-B3E9-FF74-0650-721F0137DD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-9004"/>
            <a:ext cx="12191999" cy="6857999"/>
          </a:xfrm>
          <a:prstGeom prst="rect">
            <a:avLst/>
          </a:prstGeom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ECFDC512-82FF-48C3-FF3D-6A1774EA85E3}"/>
              </a:ext>
            </a:extLst>
          </p:cNvPr>
          <p:cNvSpPr/>
          <p:nvPr/>
        </p:nvSpPr>
        <p:spPr>
          <a:xfrm>
            <a:off x="0" y="1"/>
            <a:ext cx="12192000" cy="1580910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914D4050-D8A6-914B-14D1-ADE74135758C}"/>
              </a:ext>
            </a:extLst>
          </p:cNvPr>
          <p:cNvSpPr/>
          <p:nvPr/>
        </p:nvSpPr>
        <p:spPr>
          <a:xfrm>
            <a:off x="-12569" y="6511886"/>
            <a:ext cx="12204569" cy="346109"/>
          </a:xfrm>
          <a:prstGeom prst="rect">
            <a:avLst/>
          </a:pr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5" name="Rechthoek 24">
            <a:extLst>
              <a:ext uri="{FF2B5EF4-FFF2-40B4-BE49-F238E27FC236}">
                <a16:creationId xmlns:a16="http://schemas.microsoft.com/office/drawing/2014/main" id="{2105A7C7-A48B-3DCD-BE05-CE33E12925AA}"/>
              </a:ext>
            </a:extLst>
          </p:cNvPr>
          <p:cNvSpPr/>
          <p:nvPr/>
        </p:nvSpPr>
        <p:spPr>
          <a:xfrm>
            <a:off x="0" y="1569364"/>
            <a:ext cx="11264113" cy="4942469"/>
          </a:xfrm>
          <a:prstGeom prst="rect">
            <a:avLst/>
          </a:prstGeom>
          <a:solidFill>
            <a:srgbClr val="102F44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dirty="0"/>
          </a:p>
        </p:txBody>
      </p:sp>
      <p:sp>
        <p:nvSpPr>
          <p:cNvPr id="20" name="Tekstvak 19">
            <a:extLst>
              <a:ext uri="{FF2B5EF4-FFF2-40B4-BE49-F238E27FC236}">
                <a16:creationId xmlns:a16="http://schemas.microsoft.com/office/drawing/2014/main" id="{175161D4-658B-A3BC-5C16-A9BB648E1537}"/>
              </a:ext>
            </a:extLst>
          </p:cNvPr>
          <p:cNvSpPr txBox="1"/>
          <p:nvPr/>
        </p:nvSpPr>
        <p:spPr>
          <a:xfrm>
            <a:off x="4933105" y="3912122"/>
            <a:ext cx="255583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nl-NL">
              <a:solidFill>
                <a:schemeClr val="bg1"/>
              </a:solidFill>
            </a:endParaRPr>
          </a:p>
        </p:txBody>
      </p:sp>
      <p:sp>
        <p:nvSpPr>
          <p:cNvPr id="30" name="Vrije vorm 29">
            <a:extLst>
              <a:ext uri="{FF2B5EF4-FFF2-40B4-BE49-F238E27FC236}">
                <a16:creationId xmlns:a16="http://schemas.microsoft.com/office/drawing/2014/main" id="{B5C38826-9F0D-0648-77DC-86B94080795D}"/>
              </a:ext>
            </a:extLst>
          </p:cNvPr>
          <p:cNvSpPr/>
          <p:nvPr/>
        </p:nvSpPr>
        <p:spPr>
          <a:xfrm>
            <a:off x="-927885" y="828846"/>
            <a:ext cx="8565982" cy="3937310"/>
          </a:xfrm>
          <a:custGeom>
            <a:avLst/>
            <a:gdLst>
              <a:gd name="connsiteX0" fmla="*/ 0 w 8565982"/>
              <a:gd name="connsiteY0" fmla="*/ 0 h 3937310"/>
              <a:gd name="connsiteX1" fmla="*/ 8565982 w 8565982"/>
              <a:gd name="connsiteY1" fmla="*/ 0 h 3937310"/>
              <a:gd name="connsiteX2" fmla="*/ 8565982 w 8565982"/>
              <a:gd name="connsiteY2" fmla="*/ 324522 h 3937310"/>
              <a:gd name="connsiteX3" fmla="*/ 8565982 w 8565982"/>
              <a:gd name="connsiteY3" fmla="*/ 1984348 h 3937310"/>
              <a:gd name="connsiteX4" fmla="*/ 8565982 w 8565982"/>
              <a:gd name="connsiteY4" fmla="*/ 3612841 h 3937310"/>
              <a:gd name="connsiteX5" fmla="*/ 8241513 w 8565982"/>
              <a:gd name="connsiteY5" fmla="*/ 3937310 h 3937310"/>
              <a:gd name="connsiteX6" fmla="*/ 324469 w 8565982"/>
              <a:gd name="connsiteY6" fmla="*/ 3937310 h 3937310"/>
              <a:gd name="connsiteX7" fmla="*/ 0 w 8565982"/>
              <a:gd name="connsiteY7" fmla="*/ 3612841 h 3937310"/>
              <a:gd name="connsiteX8" fmla="*/ 0 w 8565982"/>
              <a:gd name="connsiteY8" fmla="*/ 1984348 h 3937310"/>
              <a:gd name="connsiteX9" fmla="*/ 0 w 8565982"/>
              <a:gd name="connsiteY9" fmla="*/ 324522 h 39373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8565982" h="3937310">
                <a:moveTo>
                  <a:pt x="0" y="0"/>
                </a:moveTo>
                <a:lnTo>
                  <a:pt x="8565982" y="0"/>
                </a:lnTo>
                <a:lnTo>
                  <a:pt x="8565982" y="324522"/>
                </a:lnTo>
                <a:lnTo>
                  <a:pt x="8565982" y="1984348"/>
                </a:lnTo>
                <a:lnTo>
                  <a:pt x="8565982" y="3612841"/>
                </a:lnTo>
                <a:cubicBezTo>
                  <a:pt x="8565982" y="3792040"/>
                  <a:pt x="8420712" y="3937310"/>
                  <a:pt x="8241513" y="3937310"/>
                </a:cubicBezTo>
                <a:lnTo>
                  <a:pt x="324469" y="3937310"/>
                </a:lnTo>
                <a:cubicBezTo>
                  <a:pt x="145270" y="3937310"/>
                  <a:pt x="0" y="3792040"/>
                  <a:pt x="0" y="3612841"/>
                </a:cubicBezTo>
                <a:lnTo>
                  <a:pt x="0" y="1984348"/>
                </a:lnTo>
                <a:lnTo>
                  <a:pt x="0" y="324522"/>
                </a:lnTo>
                <a:close/>
              </a:path>
            </a:pathLst>
          </a:custGeom>
          <a:solidFill>
            <a:srgbClr val="AA8FC2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nl-NL" dirty="0"/>
          </a:p>
        </p:txBody>
      </p:sp>
      <p:grpSp>
        <p:nvGrpSpPr>
          <p:cNvPr id="24" name="Groep 23">
            <a:extLst>
              <a:ext uri="{FF2B5EF4-FFF2-40B4-BE49-F238E27FC236}">
                <a16:creationId xmlns:a16="http://schemas.microsoft.com/office/drawing/2014/main" id="{9629D9C9-481B-0D8C-70D6-77FDFA60C5CE}"/>
              </a:ext>
            </a:extLst>
          </p:cNvPr>
          <p:cNvGrpSpPr/>
          <p:nvPr/>
        </p:nvGrpSpPr>
        <p:grpSpPr>
          <a:xfrm>
            <a:off x="8211067" y="312830"/>
            <a:ext cx="2935623" cy="977894"/>
            <a:chOff x="216620" y="3284504"/>
            <a:chExt cx="5991069" cy="1995703"/>
          </a:xfrm>
          <a:solidFill>
            <a:srgbClr val="AA8FC2"/>
          </a:solidFill>
        </p:grpSpPr>
        <p:grpSp>
          <p:nvGrpSpPr>
            <p:cNvPr id="7" name="Graphic 2">
              <a:extLst>
                <a:ext uri="{FF2B5EF4-FFF2-40B4-BE49-F238E27FC236}">
                  <a16:creationId xmlns:a16="http://schemas.microsoft.com/office/drawing/2014/main" id="{9ED41EE3-459A-6398-5108-EC61F0C3E574}"/>
                </a:ext>
              </a:extLst>
            </p:cNvPr>
            <p:cNvGrpSpPr/>
            <p:nvPr/>
          </p:nvGrpSpPr>
          <p:grpSpPr>
            <a:xfrm>
              <a:off x="477994" y="3284504"/>
              <a:ext cx="5729695" cy="970554"/>
              <a:chOff x="477994" y="3284504"/>
              <a:chExt cx="5729695" cy="970554"/>
            </a:xfrm>
            <a:grpFill/>
          </p:grpSpPr>
          <p:sp>
            <p:nvSpPr>
              <p:cNvPr id="8" name="Vrije vorm 7">
                <a:extLst>
                  <a:ext uri="{FF2B5EF4-FFF2-40B4-BE49-F238E27FC236}">
                    <a16:creationId xmlns:a16="http://schemas.microsoft.com/office/drawing/2014/main" id="{6EC147BB-C58C-D46F-3352-34F5E7C0C323}"/>
                  </a:ext>
                </a:extLst>
              </p:cNvPr>
              <p:cNvSpPr/>
              <p:nvPr/>
            </p:nvSpPr>
            <p:spPr>
              <a:xfrm>
                <a:off x="477994" y="3284504"/>
                <a:ext cx="1104206" cy="970554"/>
              </a:xfrm>
              <a:custGeom>
                <a:avLst/>
                <a:gdLst>
                  <a:gd name="connsiteX0" fmla="*/ 1104207 w 1104206"/>
                  <a:gd name="connsiteY0" fmla="*/ 646593 h 970554"/>
                  <a:gd name="connsiteX1" fmla="*/ 590591 w 1104206"/>
                  <a:gd name="connsiteY1" fmla="*/ 970555 h 970554"/>
                  <a:gd name="connsiteX2" fmla="*/ 0 w 1104206"/>
                  <a:gd name="connsiteY2" fmla="*/ 797560 h 970554"/>
                  <a:gd name="connsiteX3" fmla="*/ 157757 w 1104206"/>
                  <a:gd name="connsiteY3" fmla="*/ 615450 h 970554"/>
                  <a:gd name="connsiteX4" fmla="*/ 595824 w 1104206"/>
                  <a:gd name="connsiteY4" fmla="*/ 746858 h 970554"/>
                  <a:gd name="connsiteX5" fmla="*/ 790119 w 1104206"/>
                  <a:gd name="connsiteY5" fmla="*/ 679255 h 970554"/>
                  <a:gd name="connsiteX6" fmla="*/ 568517 w 1104206"/>
                  <a:gd name="connsiteY6" fmla="*/ 605101 h 970554"/>
                  <a:gd name="connsiteX7" fmla="*/ 39201 w 1104206"/>
                  <a:gd name="connsiteY7" fmla="*/ 308485 h 970554"/>
                  <a:gd name="connsiteX8" fmla="*/ 552722 w 1104206"/>
                  <a:gd name="connsiteY8" fmla="*/ 0 h 970554"/>
                  <a:gd name="connsiteX9" fmla="*/ 1065100 w 1104206"/>
                  <a:gd name="connsiteY9" fmla="*/ 131408 h 970554"/>
                  <a:gd name="connsiteX10" fmla="*/ 913813 w 1104206"/>
                  <a:gd name="connsiteY10" fmla="*/ 316176 h 970554"/>
                  <a:gd name="connsiteX11" fmla="*/ 552722 w 1104206"/>
                  <a:gd name="connsiteY11" fmla="*/ 221228 h 970554"/>
                  <a:gd name="connsiteX12" fmla="*/ 353289 w 1104206"/>
                  <a:gd name="connsiteY12" fmla="*/ 282374 h 970554"/>
                  <a:gd name="connsiteX13" fmla="*/ 582789 w 1104206"/>
                  <a:gd name="connsiteY13" fmla="*/ 347508 h 970554"/>
                  <a:gd name="connsiteX14" fmla="*/ 1104207 w 1104206"/>
                  <a:gd name="connsiteY14" fmla="*/ 64668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206" h="970554">
                    <a:moveTo>
                      <a:pt x="1104207" y="646593"/>
                    </a:moveTo>
                    <a:cubicBezTo>
                      <a:pt x="1104207" y="843040"/>
                      <a:pt x="928181" y="970555"/>
                      <a:pt x="590591" y="970555"/>
                    </a:cubicBezTo>
                    <a:cubicBezTo>
                      <a:pt x="353194" y="970555"/>
                      <a:pt x="147291" y="908079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858"/>
                      <a:pt x="595824" y="746858"/>
                    </a:cubicBezTo>
                    <a:cubicBezTo>
                      <a:pt x="726179" y="746858"/>
                      <a:pt x="790119" y="724735"/>
                      <a:pt x="790119" y="679255"/>
                    </a:cubicBezTo>
                    <a:cubicBezTo>
                      <a:pt x="790119" y="633775"/>
                      <a:pt x="737882" y="619438"/>
                      <a:pt x="568517" y="605101"/>
                    </a:cubicBezTo>
                    <a:cubicBezTo>
                      <a:pt x="288207" y="580320"/>
                      <a:pt x="39201" y="516610"/>
                      <a:pt x="39201" y="308485"/>
                    </a:cubicBezTo>
                    <a:cubicBezTo>
                      <a:pt x="39201" y="100360"/>
                      <a:pt x="256808" y="0"/>
                      <a:pt x="552722" y="0"/>
                    </a:cubicBezTo>
                    <a:cubicBezTo>
                      <a:pt x="744447" y="0"/>
                      <a:pt x="933509" y="44246"/>
                      <a:pt x="1065100" y="131408"/>
                    </a:cubicBezTo>
                    <a:lnTo>
                      <a:pt x="913813" y="316176"/>
                    </a:lnTo>
                    <a:cubicBezTo>
                      <a:pt x="810862" y="248573"/>
                      <a:pt x="689641" y="221228"/>
                      <a:pt x="552722" y="221228"/>
                    </a:cubicBezTo>
                    <a:cubicBezTo>
                      <a:pt x="460142" y="221228"/>
                      <a:pt x="353289" y="232907"/>
                      <a:pt x="353289" y="282374"/>
                    </a:cubicBezTo>
                    <a:cubicBezTo>
                      <a:pt x="353289" y="326620"/>
                      <a:pt x="435498" y="335735"/>
                      <a:pt x="582789" y="347508"/>
                    </a:cubicBezTo>
                    <a:cubicBezTo>
                      <a:pt x="887837" y="372195"/>
                      <a:pt x="1104207" y="430777"/>
                      <a:pt x="1104207" y="64668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0" name="Vrije vorm 9">
                <a:extLst>
                  <a:ext uri="{FF2B5EF4-FFF2-40B4-BE49-F238E27FC236}">
                    <a16:creationId xmlns:a16="http://schemas.microsoft.com/office/drawing/2014/main" id="{288C1BB3-F041-E51D-AF29-2BF286B54AE9}"/>
                  </a:ext>
                </a:extLst>
              </p:cNvPr>
              <p:cNvSpPr/>
              <p:nvPr/>
            </p:nvSpPr>
            <p:spPr>
              <a:xfrm>
                <a:off x="1618167" y="3314412"/>
                <a:ext cx="1039029" cy="910642"/>
              </a:xfrm>
              <a:custGeom>
                <a:avLst/>
                <a:gdLst>
                  <a:gd name="connsiteX0" fmla="*/ 1038934 w 1039029"/>
                  <a:gd name="connsiteY0" fmla="*/ 240692 h 910642"/>
                  <a:gd name="connsiteX1" fmla="*/ 677843 w 1039029"/>
                  <a:gd name="connsiteY1" fmla="*/ 240692 h 910642"/>
                  <a:gd name="connsiteX2" fmla="*/ 677843 w 1039029"/>
                  <a:gd name="connsiteY2" fmla="*/ 910643 h 910642"/>
                  <a:gd name="connsiteX3" fmla="*/ 359854 w 1039029"/>
                  <a:gd name="connsiteY3" fmla="*/ 910643 h 910642"/>
                  <a:gd name="connsiteX4" fmla="*/ 359854 w 1039029"/>
                  <a:gd name="connsiteY4" fmla="*/ 240692 h 910642"/>
                  <a:gd name="connsiteX5" fmla="*/ 0 w 1039029"/>
                  <a:gd name="connsiteY5" fmla="*/ 240692 h 910642"/>
                  <a:gd name="connsiteX6" fmla="*/ 0 w 1039029"/>
                  <a:gd name="connsiteY6" fmla="*/ 0 h 910642"/>
                  <a:gd name="connsiteX7" fmla="*/ 1039029 w 1039029"/>
                  <a:gd name="connsiteY7" fmla="*/ 0 h 910642"/>
                  <a:gd name="connsiteX8" fmla="*/ 1039029 w 1039029"/>
                  <a:gd name="connsiteY8" fmla="*/ 240692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</a:cxnLst>
                <a:rect l="l" t="t" r="r" b="b"/>
                <a:pathLst>
                  <a:path w="1039029" h="910642">
                    <a:moveTo>
                      <a:pt x="1038934" y="240692"/>
                    </a:moveTo>
                    <a:lnTo>
                      <a:pt x="677843" y="240692"/>
                    </a:lnTo>
                    <a:lnTo>
                      <a:pt x="677843" y="910643"/>
                    </a:lnTo>
                    <a:lnTo>
                      <a:pt x="359854" y="910643"/>
                    </a:lnTo>
                    <a:lnTo>
                      <a:pt x="359854" y="240692"/>
                    </a:lnTo>
                    <a:lnTo>
                      <a:pt x="0" y="240692"/>
                    </a:lnTo>
                    <a:lnTo>
                      <a:pt x="0" y="0"/>
                    </a:lnTo>
                    <a:lnTo>
                      <a:pt x="1039029" y="0"/>
                    </a:lnTo>
                    <a:lnTo>
                      <a:pt x="1039029" y="240692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1" name="Vrije vorm 10">
                <a:extLst>
                  <a:ext uri="{FF2B5EF4-FFF2-40B4-BE49-F238E27FC236}">
                    <a16:creationId xmlns:a16="http://schemas.microsoft.com/office/drawing/2014/main" id="{8D93E29C-2BF3-21E4-1BA7-0FD7FBD4AB63}"/>
                  </a:ext>
                </a:extLst>
              </p:cNvPr>
              <p:cNvSpPr/>
              <p:nvPr/>
            </p:nvSpPr>
            <p:spPr>
              <a:xfrm>
                <a:off x="2778893" y="3314412"/>
                <a:ext cx="1091171" cy="940646"/>
              </a:xfrm>
              <a:custGeom>
                <a:avLst/>
                <a:gdLst>
                  <a:gd name="connsiteX0" fmla="*/ 1091171 w 1091171"/>
                  <a:gd name="connsiteY0" fmla="*/ 0 h 940646"/>
                  <a:gd name="connsiteX1" fmla="*/ 1091171 w 1091171"/>
                  <a:gd name="connsiteY1" fmla="*/ 481384 h 940646"/>
                  <a:gd name="connsiteX2" fmla="*/ 546252 w 1091171"/>
                  <a:gd name="connsiteY2" fmla="*/ 940646 h 940646"/>
                  <a:gd name="connsiteX3" fmla="*/ 0 w 1091171"/>
                  <a:gd name="connsiteY3" fmla="*/ 481384 h 940646"/>
                  <a:gd name="connsiteX4" fmla="*/ 0 w 1091171"/>
                  <a:gd name="connsiteY4" fmla="*/ 0 h 940646"/>
                  <a:gd name="connsiteX5" fmla="*/ 317989 w 1091171"/>
                  <a:gd name="connsiteY5" fmla="*/ 0 h 940646"/>
                  <a:gd name="connsiteX6" fmla="*/ 317989 w 1091171"/>
                  <a:gd name="connsiteY6" fmla="*/ 456698 h 940646"/>
                  <a:gd name="connsiteX7" fmla="*/ 546252 w 1091171"/>
                  <a:gd name="connsiteY7" fmla="*/ 689510 h 940646"/>
                  <a:gd name="connsiteX8" fmla="*/ 773087 w 1091171"/>
                  <a:gd name="connsiteY8" fmla="*/ 456698 h 940646"/>
                  <a:gd name="connsiteX9" fmla="*/ 773087 w 1091171"/>
                  <a:gd name="connsiteY9" fmla="*/ 0 h 940646"/>
                  <a:gd name="connsiteX10" fmla="*/ 1091076 w 1091171"/>
                  <a:gd name="connsiteY10" fmla="*/ 0 h 94064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</a:cxnLst>
                <a:rect l="l" t="t" r="r" b="b"/>
                <a:pathLst>
                  <a:path w="1091171" h="940646">
                    <a:moveTo>
                      <a:pt x="1091171" y="0"/>
                    </a:moveTo>
                    <a:lnTo>
                      <a:pt x="1091171" y="481384"/>
                    </a:lnTo>
                    <a:cubicBezTo>
                      <a:pt x="1091171" y="762429"/>
                      <a:pt x="895640" y="940646"/>
                      <a:pt x="546252" y="940646"/>
                    </a:cubicBezTo>
                    <a:cubicBezTo>
                      <a:pt x="196864" y="940646"/>
                      <a:pt x="0" y="762429"/>
                      <a:pt x="0" y="481384"/>
                    </a:cubicBezTo>
                    <a:lnTo>
                      <a:pt x="0" y="0"/>
                    </a:lnTo>
                    <a:lnTo>
                      <a:pt x="317989" y="0"/>
                    </a:lnTo>
                    <a:lnTo>
                      <a:pt x="317989" y="456698"/>
                    </a:lnTo>
                    <a:cubicBezTo>
                      <a:pt x="317989" y="591998"/>
                      <a:pt x="388494" y="689510"/>
                      <a:pt x="546252" y="689510"/>
                    </a:cubicBezTo>
                    <a:cubicBezTo>
                      <a:pt x="704009" y="689510"/>
                      <a:pt x="773087" y="591903"/>
                      <a:pt x="773087" y="456698"/>
                    </a:cubicBezTo>
                    <a:lnTo>
                      <a:pt x="773087" y="0"/>
                    </a:lnTo>
                    <a:lnTo>
                      <a:pt x="1091076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2" name="Vrije vorm 11">
                <a:extLst>
                  <a:ext uri="{FF2B5EF4-FFF2-40B4-BE49-F238E27FC236}">
                    <a16:creationId xmlns:a16="http://schemas.microsoft.com/office/drawing/2014/main" id="{12E8C53A-D438-AD7B-1EFC-713D957FBFAD}"/>
                  </a:ext>
                </a:extLst>
              </p:cNvPr>
              <p:cNvSpPr/>
              <p:nvPr/>
            </p:nvSpPr>
            <p:spPr>
              <a:xfrm>
                <a:off x="4018116" y="3314412"/>
                <a:ext cx="1113340" cy="910737"/>
              </a:xfrm>
              <a:custGeom>
                <a:avLst/>
                <a:gdLst>
                  <a:gd name="connsiteX0" fmla="*/ 1113341 w 1113340"/>
                  <a:gd name="connsiteY0" fmla="*/ 455369 h 910737"/>
                  <a:gd name="connsiteX1" fmla="*/ 531979 w 1113340"/>
                  <a:gd name="connsiteY1" fmla="*/ 910738 h 910737"/>
                  <a:gd name="connsiteX2" fmla="*/ 0 w 1113340"/>
                  <a:gd name="connsiteY2" fmla="*/ 910738 h 910737"/>
                  <a:gd name="connsiteX3" fmla="*/ 0 w 1113340"/>
                  <a:gd name="connsiteY3" fmla="*/ 0 h 910737"/>
                  <a:gd name="connsiteX4" fmla="*/ 531979 w 1113340"/>
                  <a:gd name="connsiteY4" fmla="*/ 0 h 910737"/>
                  <a:gd name="connsiteX5" fmla="*/ 1113341 w 1113340"/>
                  <a:gd name="connsiteY5" fmla="*/ 455369 h 910737"/>
                  <a:gd name="connsiteX6" fmla="*/ 788692 w 1113340"/>
                  <a:gd name="connsiteY6" fmla="*/ 455369 h 910737"/>
                  <a:gd name="connsiteX7" fmla="*/ 505813 w 1113340"/>
                  <a:gd name="connsiteY7" fmla="*/ 242021 h 910737"/>
                  <a:gd name="connsiteX8" fmla="*/ 318179 w 1113340"/>
                  <a:gd name="connsiteY8" fmla="*/ 242021 h 910737"/>
                  <a:gd name="connsiteX9" fmla="*/ 318179 w 1113340"/>
                  <a:gd name="connsiteY9" fmla="*/ 668716 h 910737"/>
                  <a:gd name="connsiteX10" fmla="*/ 505813 w 1113340"/>
                  <a:gd name="connsiteY10" fmla="*/ 668716 h 910737"/>
                  <a:gd name="connsiteX11" fmla="*/ 788692 w 1113340"/>
                  <a:gd name="connsiteY11" fmla="*/ 455369 h 91073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</a:cxnLst>
                <a:rect l="l" t="t" r="r" b="b"/>
                <a:pathLst>
                  <a:path w="1113340" h="910737">
                    <a:moveTo>
                      <a:pt x="1113341" y="455369"/>
                    </a:moveTo>
                    <a:cubicBezTo>
                      <a:pt x="1113341" y="742870"/>
                      <a:pt x="886505" y="910738"/>
                      <a:pt x="531979" y="910738"/>
                    </a:cubicBezTo>
                    <a:lnTo>
                      <a:pt x="0" y="910738"/>
                    </a:lnTo>
                    <a:lnTo>
                      <a:pt x="0" y="0"/>
                    </a:lnTo>
                    <a:lnTo>
                      <a:pt x="531979" y="0"/>
                    </a:lnTo>
                    <a:cubicBezTo>
                      <a:pt x="886505" y="0"/>
                      <a:pt x="1113341" y="166538"/>
                      <a:pt x="1113341" y="455369"/>
                    </a:cubicBezTo>
                    <a:close/>
                    <a:moveTo>
                      <a:pt x="788692" y="455369"/>
                    </a:moveTo>
                    <a:cubicBezTo>
                      <a:pt x="788692" y="317505"/>
                      <a:pt x="680507" y="242021"/>
                      <a:pt x="505813" y="242021"/>
                    </a:cubicBezTo>
                    <a:lnTo>
                      <a:pt x="318179" y="242021"/>
                    </a:lnTo>
                    <a:lnTo>
                      <a:pt x="318179" y="668716"/>
                    </a:lnTo>
                    <a:lnTo>
                      <a:pt x="505813" y="668716"/>
                    </a:lnTo>
                    <a:cubicBezTo>
                      <a:pt x="680507" y="668716"/>
                      <a:pt x="788692" y="593328"/>
                      <a:pt x="788692" y="455369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3" name="Vrije vorm 12">
                <a:extLst>
                  <a:ext uri="{FF2B5EF4-FFF2-40B4-BE49-F238E27FC236}">
                    <a16:creationId xmlns:a16="http://schemas.microsoft.com/office/drawing/2014/main" id="{8FEDC038-FE46-D37A-7170-DDC3FC2AFF91}"/>
                  </a:ext>
                </a:extLst>
              </p:cNvPr>
              <p:cNvSpPr/>
              <p:nvPr/>
            </p:nvSpPr>
            <p:spPr>
              <a:xfrm>
                <a:off x="5052578" y="3314412"/>
                <a:ext cx="1155111" cy="910642"/>
              </a:xfrm>
              <a:custGeom>
                <a:avLst/>
                <a:gdLst>
                  <a:gd name="connsiteX0" fmla="*/ 350720 w 1155111"/>
                  <a:gd name="connsiteY0" fmla="*/ 0 h 910642"/>
                  <a:gd name="connsiteX1" fmla="*/ 578888 w 1155111"/>
                  <a:gd name="connsiteY1" fmla="*/ 361656 h 910642"/>
                  <a:gd name="connsiteX2" fmla="*/ 805723 w 1155111"/>
                  <a:gd name="connsiteY2" fmla="*/ 0 h 910642"/>
                  <a:gd name="connsiteX3" fmla="*/ 1155112 w 1155111"/>
                  <a:gd name="connsiteY3" fmla="*/ 0 h 910642"/>
                  <a:gd name="connsiteX4" fmla="*/ 736645 w 1155111"/>
                  <a:gd name="connsiteY4" fmla="*/ 607570 h 910642"/>
                  <a:gd name="connsiteX5" fmla="*/ 736645 w 1155111"/>
                  <a:gd name="connsiteY5" fmla="*/ 910643 h 910642"/>
                  <a:gd name="connsiteX6" fmla="*/ 418466 w 1155111"/>
                  <a:gd name="connsiteY6" fmla="*/ 910643 h 910642"/>
                  <a:gd name="connsiteX7" fmla="*/ 418466 w 1155111"/>
                  <a:gd name="connsiteY7" fmla="*/ 607570 h 910642"/>
                  <a:gd name="connsiteX8" fmla="*/ 0 w 1155111"/>
                  <a:gd name="connsiteY8" fmla="*/ 0 h 910642"/>
                  <a:gd name="connsiteX9" fmla="*/ 350720 w 1155111"/>
                  <a:gd name="connsiteY9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155111" h="910642">
                    <a:moveTo>
                      <a:pt x="350720" y="0"/>
                    </a:moveTo>
                    <a:lnTo>
                      <a:pt x="578888" y="361656"/>
                    </a:lnTo>
                    <a:lnTo>
                      <a:pt x="805723" y="0"/>
                    </a:lnTo>
                    <a:lnTo>
                      <a:pt x="1155112" y="0"/>
                    </a:lnTo>
                    <a:lnTo>
                      <a:pt x="736645" y="607570"/>
                    </a:lnTo>
                    <a:lnTo>
                      <a:pt x="736645" y="910643"/>
                    </a:lnTo>
                    <a:lnTo>
                      <a:pt x="418466" y="910643"/>
                    </a:lnTo>
                    <a:lnTo>
                      <a:pt x="418466" y="607570"/>
                    </a:lnTo>
                    <a:lnTo>
                      <a:pt x="0" y="0"/>
                    </a:lnTo>
                    <a:lnTo>
                      <a:pt x="350720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  <p:grpSp>
          <p:nvGrpSpPr>
            <p:cNvPr id="15" name="Graphic 2">
              <a:extLst>
                <a:ext uri="{FF2B5EF4-FFF2-40B4-BE49-F238E27FC236}">
                  <a16:creationId xmlns:a16="http://schemas.microsoft.com/office/drawing/2014/main" id="{9ECB5A40-07FE-1718-795B-FA4CC470CF12}"/>
                </a:ext>
              </a:extLst>
            </p:cNvPr>
            <p:cNvGrpSpPr/>
            <p:nvPr/>
          </p:nvGrpSpPr>
          <p:grpSpPr>
            <a:xfrm>
              <a:off x="216620" y="4309653"/>
              <a:ext cx="4438329" cy="970554"/>
              <a:chOff x="216620" y="4309653"/>
              <a:chExt cx="4438329" cy="970554"/>
            </a:xfrm>
            <a:grpFill/>
          </p:grpSpPr>
          <p:sp>
            <p:nvSpPr>
              <p:cNvPr id="18" name="Vrije vorm 17">
                <a:extLst>
                  <a:ext uri="{FF2B5EF4-FFF2-40B4-BE49-F238E27FC236}">
                    <a16:creationId xmlns:a16="http://schemas.microsoft.com/office/drawing/2014/main" id="{728BDED3-D6B7-890C-4A20-C0B067C0AEF5}"/>
                  </a:ext>
                </a:extLst>
              </p:cNvPr>
              <p:cNvSpPr/>
              <p:nvPr/>
            </p:nvSpPr>
            <p:spPr>
              <a:xfrm>
                <a:off x="216620" y="4339656"/>
                <a:ext cx="1662256" cy="910642"/>
              </a:xfrm>
              <a:custGeom>
                <a:avLst/>
                <a:gdLst>
                  <a:gd name="connsiteX0" fmla="*/ 1662162 w 1662256"/>
                  <a:gd name="connsiteY0" fmla="*/ 0 h 910642"/>
                  <a:gd name="connsiteX1" fmla="*/ 1329710 w 1662256"/>
                  <a:gd name="connsiteY1" fmla="*/ 910643 h 910642"/>
                  <a:gd name="connsiteX2" fmla="*/ 1018192 w 1662256"/>
                  <a:gd name="connsiteY2" fmla="*/ 910643 h 910642"/>
                  <a:gd name="connsiteX3" fmla="*/ 831794 w 1662256"/>
                  <a:gd name="connsiteY3" fmla="*/ 326525 h 910642"/>
                  <a:gd name="connsiteX4" fmla="*/ 644065 w 1662256"/>
                  <a:gd name="connsiteY4" fmla="*/ 910643 h 910642"/>
                  <a:gd name="connsiteX5" fmla="*/ 332451 w 1662256"/>
                  <a:gd name="connsiteY5" fmla="*/ 910643 h 910642"/>
                  <a:gd name="connsiteX6" fmla="*/ 0 w 1662256"/>
                  <a:gd name="connsiteY6" fmla="*/ 0 h 910642"/>
                  <a:gd name="connsiteX7" fmla="*/ 319416 w 1662256"/>
                  <a:gd name="connsiteY7" fmla="*/ 0 h 910642"/>
                  <a:gd name="connsiteX8" fmla="*/ 496679 w 1662256"/>
                  <a:gd name="connsiteY8" fmla="*/ 582788 h 910642"/>
                  <a:gd name="connsiteX9" fmla="*/ 690974 w 1662256"/>
                  <a:gd name="connsiteY9" fmla="*/ 0 h 910642"/>
                  <a:gd name="connsiteX10" fmla="*/ 976516 w 1662256"/>
                  <a:gd name="connsiteY10" fmla="*/ 0 h 910642"/>
                  <a:gd name="connsiteX11" fmla="*/ 1170811 w 1662256"/>
                  <a:gd name="connsiteY11" fmla="*/ 582788 h 910642"/>
                  <a:gd name="connsiteX12" fmla="*/ 1348074 w 1662256"/>
                  <a:gd name="connsiteY12" fmla="*/ 0 h 910642"/>
                  <a:gd name="connsiteX13" fmla="*/ 1662257 w 1662256"/>
                  <a:gd name="connsiteY13" fmla="*/ 0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1662256" h="910642">
                    <a:moveTo>
                      <a:pt x="1662162" y="0"/>
                    </a:moveTo>
                    <a:lnTo>
                      <a:pt x="1329710" y="910643"/>
                    </a:lnTo>
                    <a:lnTo>
                      <a:pt x="1018192" y="910643"/>
                    </a:lnTo>
                    <a:lnTo>
                      <a:pt x="831794" y="326525"/>
                    </a:lnTo>
                    <a:lnTo>
                      <a:pt x="644065" y="910643"/>
                    </a:lnTo>
                    <a:lnTo>
                      <a:pt x="332451" y="910643"/>
                    </a:lnTo>
                    <a:lnTo>
                      <a:pt x="0" y="0"/>
                    </a:lnTo>
                    <a:lnTo>
                      <a:pt x="319416" y="0"/>
                    </a:lnTo>
                    <a:lnTo>
                      <a:pt x="496679" y="582788"/>
                    </a:lnTo>
                    <a:lnTo>
                      <a:pt x="690974" y="0"/>
                    </a:lnTo>
                    <a:lnTo>
                      <a:pt x="976516" y="0"/>
                    </a:lnTo>
                    <a:lnTo>
                      <a:pt x="1170811" y="582788"/>
                    </a:lnTo>
                    <a:lnTo>
                      <a:pt x="1348074" y="0"/>
                    </a:lnTo>
                    <a:lnTo>
                      <a:pt x="1662257" y="0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19" name="Vrije vorm 18">
                <a:extLst>
                  <a:ext uri="{FF2B5EF4-FFF2-40B4-BE49-F238E27FC236}">
                    <a16:creationId xmlns:a16="http://schemas.microsoft.com/office/drawing/2014/main" id="{D52D47C0-2F06-BF8F-8A56-4FB225E7AB3E}"/>
                  </a:ext>
                </a:extLst>
              </p:cNvPr>
              <p:cNvSpPr/>
              <p:nvPr/>
            </p:nvSpPr>
            <p:spPr>
              <a:xfrm>
                <a:off x="1977451" y="4339656"/>
                <a:ext cx="318178" cy="910642"/>
              </a:xfrm>
              <a:custGeom>
                <a:avLst/>
                <a:gdLst>
                  <a:gd name="connsiteX0" fmla="*/ 0 w 318178"/>
                  <a:gd name="connsiteY0" fmla="*/ 910643 h 910642"/>
                  <a:gd name="connsiteX1" fmla="*/ 0 w 318178"/>
                  <a:gd name="connsiteY1" fmla="*/ 0 h 910642"/>
                  <a:gd name="connsiteX2" fmla="*/ 318179 w 318178"/>
                  <a:gd name="connsiteY2" fmla="*/ 0 h 910642"/>
                  <a:gd name="connsiteX3" fmla="*/ 318179 w 318178"/>
                  <a:gd name="connsiteY3" fmla="*/ 910643 h 910642"/>
                  <a:gd name="connsiteX4" fmla="*/ 0 w 318178"/>
                  <a:gd name="connsiteY4" fmla="*/ 910643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</a:cxnLst>
                <a:rect l="l" t="t" r="r" b="b"/>
                <a:pathLst>
                  <a:path w="318178" h="910642">
                    <a:moveTo>
                      <a:pt x="0" y="910643"/>
                    </a:moveTo>
                    <a:lnTo>
                      <a:pt x="0" y="0"/>
                    </a:lnTo>
                    <a:lnTo>
                      <a:pt x="318179" y="0"/>
                    </a:lnTo>
                    <a:lnTo>
                      <a:pt x="318179" y="910643"/>
                    </a:lnTo>
                    <a:lnTo>
                      <a:pt x="0" y="910643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1" name="Vrije vorm 20">
                <a:extLst>
                  <a:ext uri="{FF2B5EF4-FFF2-40B4-BE49-F238E27FC236}">
                    <a16:creationId xmlns:a16="http://schemas.microsoft.com/office/drawing/2014/main" id="{A41266B2-A32D-B193-275F-F644FC016741}"/>
                  </a:ext>
                </a:extLst>
              </p:cNvPr>
              <p:cNvSpPr/>
              <p:nvPr/>
            </p:nvSpPr>
            <p:spPr>
              <a:xfrm>
                <a:off x="2414471" y="4309653"/>
                <a:ext cx="1104492" cy="970554"/>
              </a:xfrm>
              <a:custGeom>
                <a:avLst/>
                <a:gdLst>
                  <a:gd name="connsiteX0" fmla="*/ 1104302 w 1104492"/>
                  <a:gd name="connsiteY0" fmla="*/ 646593 h 970554"/>
                  <a:gd name="connsiteX1" fmla="*/ 590591 w 1104492"/>
                  <a:gd name="connsiteY1" fmla="*/ 970555 h 970554"/>
                  <a:gd name="connsiteX2" fmla="*/ 0 w 1104492"/>
                  <a:gd name="connsiteY2" fmla="*/ 797560 h 970554"/>
                  <a:gd name="connsiteX3" fmla="*/ 157757 w 1104492"/>
                  <a:gd name="connsiteY3" fmla="*/ 615450 h 970554"/>
                  <a:gd name="connsiteX4" fmla="*/ 595824 w 1104492"/>
                  <a:gd name="connsiteY4" fmla="*/ 746763 h 970554"/>
                  <a:gd name="connsiteX5" fmla="*/ 790119 w 1104492"/>
                  <a:gd name="connsiteY5" fmla="*/ 679065 h 970554"/>
                  <a:gd name="connsiteX6" fmla="*/ 568516 w 1104492"/>
                  <a:gd name="connsiteY6" fmla="*/ 604911 h 970554"/>
                  <a:gd name="connsiteX7" fmla="*/ 39201 w 1104492"/>
                  <a:gd name="connsiteY7" fmla="*/ 308295 h 970554"/>
                  <a:gd name="connsiteX8" fmla="*/ 552912 w 1104492"/>
                  <a:gd name="connsiteY8" fmla="*/ 0 h 970554"/>
                  <a:gd name="connsiteX9" fmla="*/ 1065291 w 1104492"/>
                  <a:gd name="connsiteY9" fmla="*/ 131313 h 970554"/>
                  <a:gd name="connsiteX10" fmla="*/ 914098 w 1104492"/>
                  <a:gd name="connsiteY10" fmla="*/ 316081 h 970554"/>
                  <a:gd name="connsiteX11" fmla="*/ 553007 w 1104492"/>
                  <a:gd name="connsiteY11" fmla="*/ 221038 h 970554"/>
                  <a:gd name="connsiteX12" fmla="*/ 353574 w 1104492"/>
                  <a:gd name="connsiteY12" fmla="*/ 282279 h 970554"/>
                  <a:gd name="connsiteX13" fmla="*/ 582979 w 1104492"/>
                  <a:gd name="connsiteY13" fmla="*/ 347318 h 970554"/>
                  <a:gd name="connsiteX14" fmla="*/ 1104492 w 1104492"/>
                  <a:gd name="connsiteY14" fmla="*/ 646498 h 97055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1104492" h="970554">
                    <a:moveTo>
                      <a:pt x="1104302" y="646593"/>
                    </a:moveTo>
                    <a:cubicBezTo>
                      <a:pt x="1104302" y="843135"/>
                      <a:pt x="928276" y="970555"/>
                      <a:pt x="590591" y="970555"/>
                    </a:cubicBezTo>
                    <a:cubicBezTo>
                      <a:pt x="353384" y="970555"/>
                      <a:pt x="147386" y="908174"/>
                      <a:pt x="0" y="797560"/>
                    </a:cubicBezTo>
                    <a:lnTo>
                      <a:pt x="157757" y="615450"/>
                    </a:lnTo>
                    <a:cubicBezTo>
                      <a:pt x="262041" y="693497"/>
                      <a:pt x="417229" y="746763"/>
                      <a:pt x="595824" y="746763"/>
                    </a:cubicBezTo>
                    <a:cubicBezTo>
                      <a:pt x="726274" y="746763"/>
                      <a:pt x="790119" y="724640"/>
                      <a:pt x="790119" y="679065"/>
                    </a:cubicBezTo>
                    <a:cubicBezTo>
                      <a:pt x="790119" y="633491"/>
                      <a:pt x="737977" y="619343"/>
                      <a:pt x="568516" y="604911"/>
                    </a:cubicBezTo>
                    <a:cubicBezTo>
                      <a:pt x="288302" y="580225"/>
                      <a:pt x="39201" y="516420"/>
                      <a:pt x="39201" y="308295"/>
                    </a:cubicBezTo>
                    <a:cubicBezTo>
                      <a:pt x="39201" y="100170"/>
                      <a:pt x="256903" y="0"/>
                      <a:pt x="552912" y="0"/>
                    </a:cubicBezTo>
                    <a:cubicBezTo>
                      <a:pt x="744542" y="0"/>
                      <a:pt x="933604" y="44151"/>
                      <a:pt x="1065291" y="131313"/>
                    </a:cubicBezTo>
                    <a:lnTo>
                      <a:pt x="914098" y="316081"/>
                    </a:lnTo>
                    <a:cubicBezTo>
                      <a:pt x="811052" y="248383"/>
                      <a:pt x="689832" y="221038"/>
                      <a:pt x="553007" y="221038"/>
                    </a:cubicBezTo>
                    <a:cubicBezTo>
                      <a:pt x="460427" y="221038"/>
                      <a:pt x="353574" y="232812"/>
                      <a:pt x="353574" y="282279"/>
                    </a:cubicBezTo>
                    <a:cubicBezTo>
                      <a:pt x="353574" y="326430"/>
                      <a:pt x="435688" y="335545"/>
                      <a:pt x="582979" y="347318"/>
                    </a:cubicBezTo>
                    <a:cubicBezTo>
                      <a:pt x="888028" y="372005"/>
                      <a:pt x="1104492" y="430588"/>
                      <a:pt x="1104492" y="646498"/>
                    </a:cubicBez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  <p:sp>
            <p:nvSpPr>
              <p:cNvPr id="23" name="Vrije vorm 22">
                <a:extLst>
                  <a:ext uri="{FF2B5EF4-FFF2-40B4-BE49-F238E27FC236}">
                    <a16:creationId xmlns:a16="http://schemas.microsoft.com/office/drawing/2014/main" id="{FB18105F-8FDC-D415-D2D2-EB4F605F7462}"/>
                  </a:ext>
                </a:extLst>
              </p:cNvPr>
              <p:cNvSpPr/>
              <p:nvPr/>
            </p:nvSpPr>
            <p:spPr>
              <a:xfrm>
                <a:off x="3652362" y="4339656"/>
                <a:ext cx="1002587" cy="910642"/>
              </a:xfrm>
              <a:custGeom>
                <a:avLst/>
                <a:gdLst>
                  <a:gd name="connsiteX0" fmla="*/ 1002492 w 1002587"/>
                  <a:gd name="connsiteY0" fmla="*/ 681629 h 910642"/>
                  <a:gd name="connsiteX1" fmla="*/ 1002492 w 1002587"/>
                  <a:gd name="connsiteY1" fmla="*/ 910643 h 910642"/>
                  <a:gd name="connsiteX2" fmla="*/ 0 w 1002587"/>
                  <a:gd name="connsiteY2" fmla="*/ 910643 h 910642"/>
                  <a:gd name="connsiteX3" fmla="*/ 0 w 1002587"/>
                  <a:gd name="connsiteY3" fmla="*/ 0 h 910642"/>
                  <a:gd name="connsiteX4" fmla="*/ 988220 w 1002587"/>
                  <a:gd name="connsiteY4" fmla="*/ 0 h 910642"/>
                  <a:gd name="connsiteX5" fmla="*/ 988220 w 1002587"/>
                  <a:gd name="connsiteY5" fmla="*/ 229014 h 910642"/>
                  <a:gd name="connsiteX6" fmla="*/ 311614 w 1002587"/>
                  <a:gd name="connsiteY6" fmla="*/ 229014 h 910642"/>
                  <a:gd name="connsiteX7" fmla="*/ 311614 w 1002587"/>
                  <a:gd name="connsiteY7" fmla="*/ 344755 h 910642"/>
                  <a:gd name="connsiteX8" fmla="*/ 863098 w 1002587"/>
                  <a:gd name="connsiteY8" fmla="*/ 344755 h 910642"/>
                  <a:gd name="connsiteX9" fmla="*/ 863098 w 1002587"/>
                  <a:gd name="connsiteY9" fmla="*/ 555444 h 910642"/>
                  <a:gd name="connsiteX10" fmla="*/ 311614 w 1002587"/>
                  <a:gd name="connsiteY10" fmla="*/ 555444 h 910642"/>
                  <a:gd name="connsiteX11" fmla="*/ 311614 w 1002587"/>
                  <a:gd name="connsiteY11" fmla="*/ 681629 h 910642"/>
                  <a:gd name="connsiteX12" fmla="*/ 1002587 w 1002587"/>
                  <a:gd name="connsiteY12" fmla="*/ 681629 h 91064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</a:cxnLst>
                <a:rect l="l" t="t" r="r" b="b"/>
                <a:pathLst>
                  <a:path w="1002587" h="910642">
                    <a:moveTo>
                      <a:pt x="1002492" y="681629"/>
                    </a:moveTo>
                    <a:lnTo>
                      <a:pt x="1002492" y="910643"/>
                    </a:lnTo>
                    <a:lnTo>
                      <a:pt x="0" y="910643"/>
                    </a:lnTo>
                    <a:lnTo>
                      <a:pt x="0" y="0"/>
                    </a:lnTo>
                    <a:lnTo>
                      <a:pt x="988220" y="0"/>
                    </a:lnTo>
                    <a:lnTo>
                      <a:pt x="988220" y="229014"/>
                    </a:lnTo>
                    <a:lnTo>
                      <a:pt x="311614" y="229014"/>
                    </a:lnTo>
                    <a:lnTo>
                      <a:pt x="311614" y="344755"/>
                    </a:lnTo>
                    <a:lnTo>
                      <a:pt x="863098" y="344755"/>
                    </a:lnTo>
                    <a:lnTo>
                      <a:pt x="863098" y="555444"/>
                    </a:lnTo>
                    <a:lnTo>
                      <a:pt x="311614" y="555444"/>
                    </a:lnTo>
                    <a:lnTo>
                      <a:pt x="311614" y="681629"/>
                    </a:lnTo>
                    <a:lnTo>
                      <a:pt x="1002587" y="681629"/>
                    </a:lnTo>
                    <a:close/>
                  </a:path>
                </a:pathLst>
              </a:custGeom>
              <a:grpFill/>
              <a:ln w="9510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nl-NL"/>
              </a:p>
            </p:txBody>
          </p:sp>
        </p:grpSp>
      </p:grpSp>
      <p:sp>
        <p:nvSpPr>
          <p:cNvPr id="2" name="Tekstvak 1">
            <a:extLst>
              <a:ext uri="{FF2B5EF4-FFF2-40B4-BE49-F238E27FC236}">
                <a16:creationId xmlns:a16="http://schemas.microsoft.com/office/drawing/2014/main" id="{8CEC51E4-F842-2336-1CAF-A1F83E39BE79}"/>
              </a:ext>
            </a:extLst>
          </p:cNvPr>
          <p:cNvSpPr txBox="1"/>
          <p:nvPr/>
        </p:nvSpPr>
        <p:spPr>
          <a:xfrm>
            <a:off x="-295275" y="1230495"/>
            <a:ext cx="7706530" cy="1910880"/>
          </a:xfrm>
          <a:prstGeom prst="rect">
            <a:avLst/>
          </a:prstGeom>
          <a:noFill/>
        </p:spPr>
        <p:txBody>
          <a:bodyPr wrap="square" lIns="540000" tIns="108000" bIns="108000" rtlCol="0" anchor="b" anchorCtr="0">
            <a:spAutoFit/>
          </a:bodyPr>
          <a:lstStyle/>
          <a:p>
            <a:pPr algn="r"/>
            <a:r>
              <a:rPr lang="nl-NL" sz="5500" b="1" dirty="0">
                <a:solidFill>
                  <a:schemeClr val="bg1"/>
                </a:solidFill>
                <a:latin typeface="Montserrat" panose="00000500000000000000" pitchFamily="2" charset="0"/>
                <a:cs typeface="Arial Black" panose="020B0604020202020204" pitchFamily="34" charset="0"/>
              </a:rPr>
              <a:t>Be </a:t>
            </a:r>
            <a:r>
              <a:rPr lang="nl-NL" sz="5500" b="1" dirty="0" err="1">
                <a:solidFill>
                  <a:schemeClr val="bg1"/>
                </a:solidFill>
                <a:latin typeface="Montserrat" panose="00000500000000000000" pitchFamily="2" charset="0"/>
                <a:cs typeface="Arial Black" panose="020B0604020202020204" pitchFamily="34" charset="0"/>
              </a:rPr>
              <a:t>wise</a:t>
            </a:r>
            <a:r>
              <a:rPr lang="nl-NL" sz="5500" b="1" dirty="0">
                <a:solidFill>
                  <a:schemeClr val="bg1"/>
                </a:solidFill>
                <a:latin typeface="Montserrat" panose="00000500000000000000" pitchFamily="2" charset="0"/>
                <a:cs typeface="Arial Black" panose="020B0604020202020204" pitchFamily="34" charset="0"/>
              </a:rPr>
              <a:t>, </a:t>
            </a:r>
          </a:p>
          <a:p>
            <a:pPr algn="r"/>
            <a:r>
              <a:rPr lang="nl-NL" sz="5500" b="1" dirty="0" err="1">
                <a:solidFill>
                  <a:schemeClr val="bg1"/>
                </a:solidFill>
                <a:latin typeface="Montserrat" panose="00000500000000000000" pitchFamily="2" charset="0"/>
                <a:cs typeface="Arial Black" panose="020B0604020202020204" pitchFamily="34" charset="0"/>
              </a:rPr>
              <a:t>choose</a:t>
            </a:r>
            <a:r>
              <a:rPr lang="nl-NL" sz="5500" b="1" dirty="0">
                <a:solidFill>
                  <a:schemeClr val="bg1"/>
                </a:solidFill>
                <a:latin typeface="Montserrat" panose="00000500000000000000" pitchFamily="2" charset="0"/>
                <a:cs typeface="Arial Black" panose="020B0604020202020204" pitchFamily="34" charset="0"/>
              </a:rPr>
              <a:t> Studywise</a:t>
            </a:r>
          </a:p>
        </p:txBody>
      </p:sp>
      <p:sp>
        <p:nvSpPr>
          <p:cNvPr id="3" name="Tekstvak 2">
            <a:extLst>
              <a:ext uri="{FF2B5EF4-FFF2-40B4-BE49-F238E27FC236}">
                <a16:creationId xmlns:a16="http://schemas.microsoft.com/office/drawing/2014/main" id="{118560A9-03BB-025A-4697-5FCCEF7D6E9E}"/>
              </a:ext>
            </a:extLst>
          </p:cNvPr>
          <p:cNvSpPr txBox="1"/>
          <p:nvPr/>
        </p:nvSpPr>
        <p:spPr>
          <a:xfrm>
            <a:off x="651095" y="3302883"/>
            <a:ext cx="4596276" cy="587441"/>
          </a:xfrm>
          <a:prstGeom prst="rect">
            <a:avLst/>
          </a:prstGeom>
          <a:noFill/>
        </p:spPr>
        <p:txBody>
          <a:bodyPr wrap="square" lIns="540000" tIns="108000" bIns="108000" rtlCol="0" anchor="b" anchorCtr="0">
            <a:spAutoFit/>
          </a:bodyPr>
          <a:lstStyle/>
          <a:p>
            <a:r>
              <a:rPr lang="nl-NL" sz="2400" b="1" dirty="0">
                <a:solidFill>
                  <a:schemeClr val="bg1"/>
                </a:solidFill>
                <a:effectLst/>
                <a:latin typeface="Montserrat" panose="00000500000000000000" pitchFamily="2" charset="0"/>
                <a:cs typeface="Arial" panose="020B0604020202020204" pitchFamily="34" charset="0"/>
              </a:rPr>
              <a:t>Meer weten?</a:t>
            </a:r>
            <a:endParaRPr lang="nl-NL" sz="2400" b="1" dirty="0">
              <a:solidFill>
                <a:schemeClr val="bg1"/>
              </a:solidFill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Afgeronde rechthoek 21">
            <a:extLst>
              <a:ext uri="{FF2B5EF4-FFF2-40B4-BE49-F238E27FC236}">
                <a16:creationId xmlns:a16="http://schemas.microsoft.com/office/drawing/2014/main" id="{BE0779D9-5C4B-7511-83D1-F0A22CAC1CC1}"/>
              </a:ext>
            </a:extLst>
          </p:cNvPr>
          <p:cNvSpPr/>
          <p:nvPr/>
        </p:nvSpPr>
        <p:spPr>
          <a:xfrm>
            <a:off x="3855970" y="3289491"/>
            <a:ext cx="2864580" cy="614227"/>
          </a:xfrm>
          <a:prstGeom prst="roundRect">
            <a:avLst/>
          </a:prstGeom>
          <a:solidFill>
            <a:srgbClr val="ED8F0D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400" b="1" dirty="0" err="1">
                <a:latin typeface="Montserrat" panose="00000500000000000000" pitchFamily="2" charset="0"/>
                <a:cs typeface="Arial Black" panose="020B0604020202020204" pitchFamily="34" charset="0"/>
              </a:rPr>
              <a:t>studywise.nl</a:t>
            </a:r>
            <a:endParaRPr lang="nl-NL" sz="2400" b="1" dirty="0">
              <a:latin typeface="Montserrat" panose="00000500000000000000" pitchFamily="2" charset="0"/>
              <a:cs typeface="Arial Black" panose="020B0604020202020204" pitchFamily="34" charset="0"/>
            </a:endParaRPr>
          </a:p>
        </p:txBody>
      </p:sp>
      <p:sp>
        <p:nvSpPr>
          <p:cNvPr id="26" name="Tekstvak 25">
            <a:extLst>
              <a:ext uri="{FF2B5EF4-FFF2-40B4-BE49-F238E27FC236}">
                <a16:creationId xmlns:a16="http://schemas.microsoft.com/office/drawing/2014/main" id="{CBF3513F-84B8-B147-DC6A-5096DBE14273}"/>
              </a:ext>
            </a:extLst>
          </p:cNvPr>
          <p:cNvSpPr txBox="1"/>
          <p:nvPr/>
        </p:nvSpPr>
        <p:spPr>
          <a:xfrm>
            <a:off x="8283285" y="5171862"/>
            <a:ext cx="284761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None/>
            </a:pPr>
            <a:r>
              <a:rPr lang="nl-NL" b="1" dirty="0" err="1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Studywise</a:t>
            </a:r>
            <a:r>
              <a:rPr lang="nl-NL" b="1" dirty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rPr>
              <a:t> </a:t>
            </a:r>
          </a:p>
          <a:p>
            <a:pPr>
              <a:buNone/>
            </a:pPr>
            <a:r>
              <a:rPr lang="nl-N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 Tweeling 18 </a:t>
            </a:r>
            <a:br>
              <a:rPr lang="nl-N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nl-NL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215 MC Den Bosch </a:t>
            </a:r>
          </a:p>
        </p:txBody>
      </p:sp>
      <p:sp>
        <p:nvSpPr>
          <p:cNvPr id="5" name="Tekstvak 4">
            <a:extLst>
              <a:ext uri="{FF2B5EF4-FFF2-40B4-BE49-F238E27FC236}">
                <a16:creationId xmlns:a16="http://schemas.microsoft.com/office/drawing/2014/main" id="{7F631655-8EE9-2FB0-DA6D-F9084D3FB657}"/>
              </a:ext>
            </a:extLst>
          </p:cNvPr>
          <p:cNvSpPr txBox="1"/>
          <p:nvPr/>
        </p:nvSpPr>
        <p:spPr>
          <a:xfrm>
            <a:off x="426970" y="4051530"/>
            <a:ext cx="6565900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l-NL" sz="2000" b="0" i="0" u="none" strike="noStrike" baseline="0" dirty="0">
                <a:solidFill>
                  <a:schemeClr val="tx2"/>
                </a:solidFill>
                <a:latin typeface="Montserrat" panose="00000500000000000000" pitchFamily="2" charset="0"/>
              </a:rPr>
              <a:t> </a:t>
            </a:r>
            <a:r>
              <a:rPr lang="nl-NL" sz="2800" b="1" i="0" u="none" strike="noStrike" baseline="0" dirty="0">
                <a:solidFill>
                  <a:schemeClr val="tx2"/>
                </a:solidFill>
                <a:latin typeface="Montserrat" panose="00000500000000000000" pitchFamily="2" charset="0"/>
              </a:rPr>
              <a:t>studywise.nl/shop/davinci2025 </a:t>
            </a:r>
            <a:endParaRPr lang="nl-NL" sz="2800" dirty="0">
              <a:solidFill>
                <a:schemeClr val="tx2"/>
              </a:solidFill>
            </a:endParaRPr>
          </a:p>
        </p:txBody>
      </p:sp>
      <p:pic>
        <p:nvPicPr>
          <p:cNvPr id="33" name="Afbeelding 32">
            <a:extLst>
              <a:ext uri="{FF2B5EF4-FFF2-40B4-BE49-F238E27FC236}">
                <a16:creationId xmlns:a16="http://schemas.microsoft.com/office/drawing/2014/main" id="{16521899-C2D8-C94B-595D-4C15CD1B788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01973" y="1984265"/>
            <a:ext cx="2662139" cy="26621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26065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5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500"/>
                            </p:stCondLst>
                            <p:childTnLst>
                              <p:par>
                                <p:cTn id="1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53" presetClass="entr" presetSubtype="16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9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0" dur="5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3000"/>
                            </p:stCondLst>
                            <p:childTnLst>
                              <p:par>
                                <p:cTn id="23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2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 animBg="1"/>
      <p:bldP spid="2" grpId="0"/>
      <p:bldP spid="3" grpId="0"/>
      <p:bldP spid="22" grpId="0" animBg="1"/>
      <p:bldP spid="26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hthoek 1">
            <a:extLst>
              <a:ext uri="{FF2B5EF4-FFF2-40B4-BE49-F238E27FC236}">
                <a16:creationId xmlns:a16="http://schemas.microsoft.com/office/drawing/2014/main" id="{BDFF8B56-1689-FF77-B503-29B3AFC91228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102F44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540758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 advTm="500">
        <p:fade/>
      </p:transition>
    </mc:Choice>
    <mc:Fallback xmlns="">
      <p:transition spd="med" advClick="0" advTm="500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62418E-1D84-4029-7A36-23658E31BF5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-12573" y="560684"/>
            <a:ext cx="9027435" cy="587441"/>
          </a:xfrm>
        </p:spPr>
        <p:txBody>
          <a:bodyPr/>
          <a:lstStyle/>
          <a:p>
            <a:r>
              <a:rPr lang="nl-NL" b="1" dirty="0">
                <a:latin typeface="Montserrat" panose="00000500000000000000" pitchFamily="2" charset="0"/>
              </a:rPr>
              <a:t>Wij zijn </a:t>
            </a:r>
            <a:r>
              <a:rPr lang="nl-NL" b="1" dirty="0" err="1">
                <a:latin typeface="Montserrat" panose="00000500000000000000" pitchFamily="2" charset="0"/>
              </a:rPr>
              <a:t>Studywise</a:t>
            </a:r>
            <a:endParaRPr lang="nl-NL" b="1" dirty="0">
              <a:latin typeface="Montserrat" panose="00000500000000000000" pitchFamily="2" charset="0"/>
            </a:endParaRPr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AF2725CC-59BE-1B33-46B3-5132C5A138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8566" y="1560513"/>
            <a:ext cx="6515266" cy="4543166"/>
          </a:xfrm>
        </p:spPr>
        <p:txBody>
          <a:bodyPr/>
          <a:lstStyle/>
          <a:p>
            <a:pPr lvl="1">
              <a:spcBef>
                <a:spcPts val="1000"/>
              </a:spcBef>
            </a:pPr>
            <a:r>
              <a:rPr lang="nl-NL" b="0" dirty="0"/>
              <a:t>Onderdeel van The Rent Company</a:t>
            </a:r>
          </a:p>
          <a:p>
            <a:pPr lvl="1">
              <a:spcBef>
                <a:spcPts val="1000"/>
              </a:spcBef>
            </a:pPr>
            <a:r>
              <a:rPr lang="nl-NL" b="0" dirty="0"/>
              <a:t>Jarenlange ervaring in het onderwijs</a:t>
            </a:r>
          </a:p>
          <a:p>
            <a:pPr lvl="1">
              <a:spcBef>
                <a:spcPts val="1000"/>
              </a:spcBef>
            </a:pPr>
            <a:r>
              <a:rPr lang="nl-NL" b="0" dirty="0"/>
              <a:t>Volledig gericht op service, ontzorgen met visie</a:t>
            </a:r>
          </a:p>
          <a:p>
            <a:pPr lvl="1">
              <a:spcBef>
                <a:spcPts val="1000"/>
              </a:spcBef>
            </a:pPr>
            <a:r>
              <a:rPr lang="nl-NL" b="0" dirty="0"/>
              <a:t>Studywise specifiek voor studenten in het vervolgonderwijs</a:t>
            </a:r>
          </a:p>
          <a:p>
            <a:pPr lvl="1">
              <a:spcBef>
                <a:spcPts val="1000"/>
              </a:spcBef>
            </a:pPr>
            <a:r>
              <a:rPr lang="nl-NL" b="0" dirty="0"/>
              <a:t>Samenwerkingen met veel onderwijsinstellingen maar gericht op de student</a:t>
            </a:r>
          </a:p>
          <a:p>
            <a:pPr lvl="1">
              <a:spcBef>
                <a:spcPts val="1000"/>
              </a:spcBef>
            </a:pPr>
            <a:endParaRPr lang="nl-NL" b="0" dirty="0"/>
          </a:p>
          <a:p>
            <a:pPr lvl="1">
              <a:spcBef>
                <a:spcPts val="1000"/>
              </a:spcBef>
            </a:pPr>
            <a:endParaRPr lang="nl-NL" b="0" dirty="0"/>
          </a:p>
        </p:txBody>
      </p:sp>
      <p:pic>
        <p:nvPicPr>
          <p:cNvPr id="11" name="Tijdelijke aanduiding voor afbeelding 10" descr="Afbeelding met kleding, persoon, jeans, plant&#10;&#10;Door AI gegenereerde inhoud is mogelijk onjuist.">
            <a:extLst>
              <a:ext uri="{FF2B5EF4-FFF2-40B4-BE49-F238E27FC236}">
                <a16:creationId xmlns:a16="http://schemas.microsoft.com/office/drawing/2014/main" id="{D124C681-F145-F2D6-029F-6A1AA407BD7F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821" r="26821"/>
          <a:stretch>
            <a:fillRect/>
          </a:stretch>
        </p:blipFill>
        <p:spPr>
          <a:xfrm>
            <a:off x="7534276" y="895678"/>
            <a:ext cx="4657724" cy="5689271"/>
          </a:xfrm>
        </p:spPr>
      </p:pic>
    </p:spTree>
    <p:extLst>
      <p:ext uri="{BB962C8B-B14F-4D97-AF65-F5344CB8AC3E}">
        <p14:creationId xmlns:p14="http://schemas.microsoft.com/office/powerpoint/2010/main" val="11729084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hthoek 12">
            <a:extLst>
              <a:ext uri="{FF2B5EF4-FFF2-40B4-BE49-F238E27FC236}">
                <a16:creationId xmlns:a16="http://schemas.microsoft.com/office/drawing/2014/main" id="{884906C3-F933-D652-6084-84CFAF57FF88}"/>
              </a:ext>
            </a:extLst>
          </p:cNvPr>
          <p:cNvSpPr/>
          <p:nvPr/>
        </p:nvSpPr>
        <p:spPr>
          <a:xfrm>
            <a:off x="-12572" y="3220629"/>
            <a:ext cx="12204572" cy="3326163"/>
          </a:xfrm>
          <a:prstGeom prst="rect">
            <a:avLst/>
          </a:prstGeom>
          <a:gradFill>
            <a:gsLst>
              <a:gs pos="0">
                <a:srgbClr val="102F44">
                  <a:alpha val="0"/>
                </a:srgbClr>
              </a:gs>
              <a:gs pos="100000">
                <a:srgbClr val="102F44">
                  <a:alpha val="31259"/>
                </a:srgb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895DFFD-4093-E872-6A84-6A87CD4BB82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b="1" dirty="0">
                <a:latin typeface="Montserrat" panose="00000500000000000000" pitchFamily="2" charset="0"/>
              </a:rPr>
              <a:t>Webshop</a:t>
            </a:r>
          </a:p>
        </p:txBody>
      </p:sp>
      <p:pic>
        <p:nvPicPr>
          <p:cNvPr id="6" name="Afbeelding 5" descr="Afbeelding met elektronica, computer, computer, Elektronisch apparaat&#10;&#10;Door AI gegenereerde inhoud is mogelijk onjuist.">
            <a:extLst>
              <a:ext uri="{FF2B5EF4-FFF2-40B4-BE49-F238E27FC236}">
                <a16:creationId xmlns:a16="http://schemas.microsoft.com/office/drawing/2014/main" id="{7C30FBD3-7702-A8D9-E102-45BCF447FB2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73250" y="1148125"/>
            <a:ext cx="11445499" cy="5709875"/>
          </a:xfrm>
          <a:prstGeom prst="rect">
            <a:avLst/>
          </a:prstGeom>
          <a:effectLst>
            <a:outerShdw blurRad="479465" dist="267696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Afbeelding 7">
            <a:hlinkClick r:id="rId4"/>
            <a:extLst>
              <a:ext uri="{FF2B5EF4-FFF2-40B4-BE49-F238E27FC236}">
                <a16:creationId xmlns:a16="http://schemas.microsoft.com/office/drawing/2014/main" id="{A2DCCB79-9751-53CF-9AFE-76F26451F7C9}"/>
              </a:ext>
            </a:extLst>
          </p:cNvPr>
          <p:cNvPicPr>
            <a:picLocks noChangeAspect="1"/>
          </p:cNvPicPr>
          <p:nvPr/>
        </p:nvPicPr>
        <p:blipFill>
          <a:blip r:embed="rId5"/>
          <a:srcRect b="6252"/>
          <a:stretch/>
        </p:blipFill>
        <p:spPr>
          <a:xfrm>
            <a:off x="2777847" y="1600410"/>
            <a:ext cx="6623734" cy="42006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536586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16EF0BBA-9B20-A5A3-471C-9187C098C8F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3607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568" imgH="571" progId="TCLayout.ActiveDocument.1">
                  <p:embed/>
                </p:oleObj>
              </mc:Choice>
              <mc:Fallback>
                <p:oleObj name="think-cell Slide" r:id="rId4" imgW="568" imgH="571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EF0BBA-9B20-A5A3-471C-9187C098C8F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7D3BECD3-414A-3699-204C-591ED5FFE19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vert="horz"/>
          <a:lstStyle/>
          <a:p>
            <a:r>
              <a:rPr lang="nl-NL" b="1" dirty="0">
                <a:latin typeface="Montserrat" panose="00000500000000000000" pitchFamily="2" charset="0"/>
              </a:rPr>
              <a:t>Aanbod laptops: een voorbeeld</a:t>
            </a: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10DE1A8E-4F53-ACA7-5E1D-A9E855ADED1F}"/>
              </a:ext>
            </a:extLst>
          </p:cNvPr>
          <p:cNvGrpSpPr/>
          <p:nvPr/>
        </p:nvGrpSpPr>
        <p:grpSpPr>
          <a:xfrm>
            <a:off x="2662208" y="1637776"/>
            <a:ext cx="2064299" cy="4421660"/>
            <a:chOff x="1426193" y="1637776"/>
            <a:chExt cx="2064299" cy="4421660"/>
          </a:xfrm>
        </p:grpSpPr>
        <p:sp>
          <p:nvSpPr>
            <p:cNvPr id="32" name="Vrije vorm 31">
              <a:extLst>
                <a:ext uri="{FF2B5EF4-FFF2-40B4-BE49-F238E27FC236}">
                  <a16:creationId xmlns:a16="http://schemas.microsoft.com/office/drawing/2014/main" id="{ED85BF61-584F-96D9-606A-0779C339428D}"/>
                </a:ext>
              </a:extLst>
            </p:cNvPr>
            <p:cNvSpPr/>
            <p:nvPr/>
          </p:nvSpPr>
          <p:spPr>
            <a:xfrm>
              <a:off x="1432275" y="1637776"/>
              <a:ext cx="2058217" cy="4421660"/>
            </a:xfrm>
            <a:custGeom>
              <a:avLst/>
              <a:gdLst>
                <a:gd name="connsiteX0" fmla="*/ 0 w 2063523"/>
                <a:gd name="connsiteY0" fmla="*/ 0 h 4034413"/>
                <a:gd name="connsiteX1" fmla="*/ 256456 w 2063523"/>
                <a:gd name="connsiteY1" fmla="*/ 0 h 4034413"/>
                <a:gd name="connsiteX2" fmla="*/ 1807068 w 2063523"/>
                <a:gd name="connsiteY2" fmla="*/ 0 h 4034413"/>
                <a:gd name="connsiteX3" fmla="*/ 2063521 w 2063523"/>
                <a:gd name="connsiteY3" fmla="*/ 0 h 4034413"/>
                <a:gd name="connsiteX4" fmla="*/ 2063521 w 2063523"/>
                <a:gd name="connsiteY4" fmla="*/ 256435 h 4034413"/>
                <a:gd name="connsiteX5" fmla="*/ 2063523 w 2063523"/>
                <a:gd name="connsiteY5" fmla="*/ 256455 h 4034413"/>
                <a:gd name="connsiteX6" fmla="*/ 2063523 w 2063523"/>
                <a:gd name="connsiteY6" fmla="*/ 3777958 h 4034413"/>
                <a:gd name="connsiteX7" fmla="*/ 1807068 w 2063523"/>
                <a:gd name="connsiteY7" fmla="*/ 4034413 h 4034413"/>
                <a:gd name="connsiteX8" fmla="*/ 1391480 w 2063523"/>
                <a:gd name="connsiteY8" fmla="*/ 4034413 h 4034413"/>
                <a:gd name="connsiteX9" fmla="*/ 256456 w 2063523"/>
                <a:gd name="connsiteY9" fmla="*/ 4034413 h 4034413"/>
                <a:gd name="connsiteX10" fmla="*/ 1 w 2063523"/>
                <a:gd name="connsiteY10" fmla="*/ 4034413 h 4034413"/>
                <a:gd name="connsiteX11" fmla="*/ 1 w 2063523"/>
                <a:gd name="connsiteY11" fmla="*/ 3777958 h 4034413"/>
                <a:gd name="connsiteX12" fmla="*/ 1 w 2063523"/>
                <a:gd name="connsiteY12" fmla="*/ 880688 h 4034413"/>
                <a:gd name="connsiteX13" fmla="*/ 0 w 2063523"/>
                <a:gd name="connsiteY13" fmla="*/ 880688 h 4034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3523" h="4034413">
                  <a:moveTo>
                    <a:pt x="0" y="0"/>
                  </a:moveTo>
                  <a:lnTo>
                    <a:pt x="256456" y="0"/>
                  </a:lnTo>
                  <a:lnTo>
                    <a:pt x="1807068" y="0"/>
                  </a:lnTo>
                  <a:lnTo>
                    <a:pt x="2063521" y="0"/>
                  </a:lnTo>
                  <a:lnTo>
                    <a:pt x="2063521" y="256435"/>
                  </a:lnTo>
                  <a:lnTo>
                    <a:pt x="2063523" y="256455"/>
                  </a:lnTo>
                  <a:lnTo>
                    <a:pt x="2063523" y="3777958"/>
                  </a:lnTo>
                  <a:cubicBezTo>
                    <a:pt x="2063523" y="3919594"/>
                    <a:pt x="1948704" y="4034413"/>
                    <a:pt x="1807068" y="4034413"/>
                  </a:cubicBezTo>
                  <a:lnTo>
                    <a:pt x="1391480" y="4034413"/>
                  </a:lnTo>
                  <a:lnTo>
                    <a:pt x="256456" y="4034413"/>
                  </a:lnTo>
                  <a:lnTo>
                    <a:pt x="1" y="4034413"/>
                  </a:lnTo>
                  <a:lnTo>
                    <a:pt x="1" y="3777958"/>
                  </a:lnTo>
                  <a:lnTo>
                    <a:pt x="1" y="880688"/>
                  </a:lnTo>
                  <a:lnTo>
                    <a:pt x="0" y="880688"/>
                  </a:lnTo>
                  <a:close/>
                </a:path>
              </a:pathLst>
            </a:custGeom>
            <a:solidFill>
              <a:srgbClr val="ED8F0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 dirty="0"/>
            </a:p>
          </p:txBody>
        </p:sp>
        <p:sp>
          <p:nvSpPr>
            <p:cNvPr id="33" name="Afgeronde rechthoek 32">
              <a:extLst>
                <a:ext uri="{FF2B5EF4-FFF2-40B4-BE49-F238E27FC236}">
                  <a16:creationId xmlns:a16="http://schemas.microsoft.com/office/drawing/2014/main" id="{E113AB63-4EEA-47B2-C32A-DD36C21BB4C3}"/>
                </a:ext>
              </a:extLst>
            </p:cNvPr>
            <p:cNvSpPr/>
            <p:nvPr/>
          </p:nvSpPr>
          <p:spPr>
            <a:xfrm>
              <a:off x="1546016" y="1916477"/>
              <a:ext cx="1076668" cy="274447"/>
            </a:xfrm>
            <a:prstGeom prst="roundRect">
              <a:avLst>
                <a:gd name="adj" fmla="val 0"/>
              </a:avLst>
            </a:prstGeom>
            <a:solidFill>
              <a:schemeClr val="bg1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nl-NL" sz="1000" b="1" dirty="0">
                  <a:solidFill>
                    <a:srgbClr val="ED8F0D"/>
                  </a:solidFill>
                  <a:latin typeface="Arial Black" panose="020B0604020202020204" pitchFamily="34" charset="0"/>
                  <a:cs typeface="Arial Black" panose="020B0604020202020204" pitchFamily="34" charset="0"/>
                </a:rPr>
                <a:t>Benodigd</a:t>
              </a:r>
            </a:p>
          </p:txBody>
        </p:sp>
        <p:sp>
          <p:nvSpPr>
            <p:cNvPr id="34" name="Tekstvak 33">
              <a:extLst>
                <a:ext uri="{FF2B5EF4-FFF2-40B4-BE49-F238E27FC236}">
                  <a16:creationId xmlns:a16="http://schemas.microsoft.com/office/drawing/2014/main" id="{D8556975-B78B-166B-BBB3-191F180952FA}"/>
                </a:ext>
              </a:extLst>
            </p:cNvPr>
            <p:cNvSpPr txBox="1"/>
            <p:nvPr/>
          </p:nvSpPr>
          <p:spPr>
            <a:xfrm>
              <a:off x="1444101" y="2275575"/>
              <a:ext cx="2034570" cy="278288"/>
            </a:xfrm>
            <a:prstGeom prst="rect">
              <a:avLst/>
            </a:prstGeom>
            <a:noFill/>
          </p:spPr>
          <p:txBody>
            <a:bodyPr wrap="square" lIns="144000" rtlCol="0">
              <a:spAutoFit/>
            </a:bodyPr>
            <a:lstStyle/>
            <a:p>
              <a:r>
                <a:rPr lang="nl-NL" sz="105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novo </a:t>
              </a:r>
              <a:r>
                <a:rPr lang="nl-NL" sz="1050" b="1" dirty="0" err="1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aPad</a:t>
              </a:r>
              <a:r>
                <a:rPr lang="nl-NL" sz="105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1</a:t>
              </a:r>
            </a:p>
          </p:txBody>
        </p:sp>
        <p:sp>
          <p:nvSpPr>
            <p:cNvPr id="36" name="Tekstvak 35">
              <a:extLst>
                <a:ext uri="{FF2B5EF4-FFF2-40B4-BE49-F238E27FC236}">
                  <a16:creationId xmlns:a16="http://schemas.microsoft.com/office/drawing/2014/main" id="{DAFD57B9-3BAD-19CA-4CA0-DFB831489422}"/>
                </a:ext>
              </a:extLst>
            </p:cNvPr>
            <p:cNvSpPr txBox="1"/>
            <p:nvPr/>
          </p:nvSpPr>
          <p:spPr>
            <a:xfrm>
              <a:off x="1435237" y="4614691"/>
              <a:ext cx="1994480" cy="286721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b="1" dirty="0">
                  <a:solidFill>
                    <a:srgbClr val="ED8F0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op vanaf:</a:t>
              </a:r>
            </a:p>
          </p:txBody>
        </p:sp>
        <p:sp>
          <p:nvSpPr>
            <p:cNvPr id="37" name="Tekstvak 36">
              <a:extLst>
                <a:ext uri="{FF2B5EF4-FFF2-40B4-BE49-F238E27FC236}">
                  <a16:creationId xmlns:a16="http://schemas.microsoft.com/office/drawing/2014/main" id="{0429C1F6-9048-3A6E-0FD5-10E0668C0785}"/>
                </a:ext>
              </a:extLst>
            </p:cNvPr>
            <p:cNvSpPr txBox="1"/>
            <p:nvPr/>
          </p:nvSpPr>
          <p:spPr>
            <a:xfrm>
              <a:off x="1435237" y="4844707"/>
              <a:ext cx="1994480" cy="455380"/>
            </a:xfrm>
            <a:prstGeom prst="rect">
              <a:avLst/>
            </a:prstGeom>
            <a:noFill/>
          </p:spPr>
          <p:txBody>
            <a:bodyPr wrap="square" lIns="144000" tIns="0" rtlCol="0" anchor="t">
              <a:spAutoFit/>
            </a:bodyPr>
            <a:lstStyle/>
            <a:p>
              <a:r>
                <a:rPr lang="nl-NL" sz="24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€499,-</a:t>
              </a:r>
            </a:p>
          </p:txBody>
        </p:sp>
        <p:sp>
          <p:nvSpPr>
            <p:cNvPr id="35" name="Tekstvak 34">
              <a:extLst>
                <a:ext uri="{FF2B5EF4-FFF2-40B4-BE49-F238E27FC236}">
                  <a16:creationId xmlns:a16="http://schemas.microsoft.com/office/drawing/2014/main" id="{A8FC8445-CA62-0587-850E-2345528597E7}"/>
                </a:ext>
              </a:extLst>
            </p:cNvPr>
            <p:cNvSpPr txBox="1"/>
            <p:nvPr/>
          </p:nvSpPr>
          <p:spPr>
            <a:xfrm>
              <a:off x="1440368" y="3915933"/>
              <a:ext cx="1994480" cy="472246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or een breed scala aan opleidingen.</a:t>
              </a:r>
            </a:p>
          </p:txBody>
        </p:sp>
        <p:pic>
          <p:nvPicPr>
            <p:cNvPr id="40" name="Afbeelding 39" descr="Afbeelding met notitieblok, computer, computer, Netbook&#10;&#10;Door AI gegenereerde inhoud is mogelijk onjuist.">
              <a:extLst>
                <a:ext uri="{FF2B5EF4-FFF2-40B4-BE49-F238E27FC236}">
                  <a16:creationId xmlns:a16="http://schemas.microsoft.com/office/drawing/2014/main" id="{D57A2DD3-541E-4512-75DA-89EAAE909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468489" y="2184147"/>
              <a:ext cx="1945704" cy="2137962"/>
            </a:xfrm>
            <a:prstGeom prst="rect">
              <a:avLst/>
            </a:prstGeom>
          </p:spPr>
        </p:pic>
        <p:sp>
          <p:nvSpPr>
            <p:cNvPr id="12" name="Tekstvak 11">
              <a:extLst>
                <a:ext uri="{FF2B5EF4-FFF2-40B4-BE49-F238E27FC236}">
                  <a16:creationId xmlns:a16="http://schemas.microsoft.com/office/drawing/2014/main" id="{D4A86CDB-7B95-CF97-0FBA-A5C575801251}"/>
                </a:ext>
              </a:extLst>
            </p:cNvPr>
            <p:cNvSpPr txBox="1"/>
            <p:nvPr/>
          </p:nvSpPr>
          <p:spPr>
            <a:xfrm>
              <a:off x="1430094" y="5249680"/>
              <a:ext cx="1999622" cy="261610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b="1" dirty="0">
                  <a:solidFill>
                    <a:srgbClr val="ED8F0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ur vanaf:</a:t>
              </a:r>
            </a:p>
          </p:txBody>
        </p:sp>
        <p:sp>
          <p:nvSpPr>
            <p:cNvPr id="47" name="Tekstvak 46">
              <a:extLst>
                <a:ext uri="{FF2B5EF4-FFF2-40B4-BE49-F238E27FC236}">
                  <a16:creationId xmlns:a16="http://schemas.microsoft.com/office/drawing/2014/main" id="{BD86FF15-00B5-80AC-8902-5C3E08877277}"/>
                </a:ext>
              </a:extLst>
            </p:cNvPr>
            <p:cNvSpPr txBox="1"/>
            <p:nvPr/>
          </p:nvSpPr>
          <p:spPr>
            <a:xfrm>
              <a:off x="1426193" y="5457692"/>
              <a:ext cx="1975172" cy="415498"/>
            </a:xfrm>
            <a:prstGeom prst="rect">
              <a:avLst/>
            </a:prstGeom>
            <a:noFill/>
          </p:spPr>
          <p:txBody>
            <a:bodyPr wrap="square" lIns="144000" tIns="0" rtlCol="0" anchor="t">
              <a:spAutoFit/>
            </a:bodyPr>
            <a:lstStyle/>
            <a:p>
              <a:r>
                <a:rPr lang="nl-NL" sz="24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€15,95 </a:t>
              </a:r>
              <a:r>
                <a:rPr lang="nl-NL" sz="16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/m</a:t>
              </a:r>
              <a:r>
                <a:rPr lang="nl-NL" sz="1600" b="1" baseline="30000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*</a:t>
              </a:r>
              <a:endParaRPr lang="nl-NL" sz="2400" b="1" baseline="30000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C45A1F40-050F-0B62-1B8D-D77510D5BB19}"/>
              </a:ext>
            </a:extLst>
          </p:cNvPr>
          <p:cNvGrpSpPr/>
          <p:nvPr/>
        </p:nvGrpSpPr>
        <p:grpSpPr>
          <a:xfrm>
            <a:off x="7325013" y="1637776"/>
            <a:ext cx="2071618" cy="4421660"/>
            <a:chOff x="7325013" y="1637776"/>
            <a:chExt cx="2071618" cy="4421660"/>
          </a:xfrm>
        </p:grpSpPr>
        <p:sp>
          <p:nvSpPr>
            <p:cNvPr id="18" name="Vrije vorm 17">
              <a:extLst>
                <a:ext uri="{FF2B5EF4-FFF2-40B4-BE49-F238E27FC236}">
                  <a16:creationId xmlns:a16="http://schemas.microsoft.com/office/drawing/2014/main" id="{A02EDF5F-30CC-0D79-E509-E315992D1977}"/>
                </a:ext>
              </a:extLst>
            </p:cNvPr>
            <p:cNvSpPr/>
            <p:nvPr/>
          </p:nvSpPr>
          <p:spPr>
            <a:xfrm>
              <a:off x="7333108" y="1637776"/>
              <a:ext cx="2063523" cy="4421660"/>
            </a:xfrm>
            <a:custGeom>
              <a:avLst/>
              <a:gdLst>
                <a:gd name="connsiteX0" fmla="*/ 0 w 2063523"/>
                <a:gd name="connsiteY0" fmla="*/ 0 h 4034413"/>
                <a:gd name="connsiteX1" fmla="*/ 256456 w 2063523"/>
                <a:gd name="connsiteY1" fmla="*/ 0 h 4034413"/>
                <a:gd name="connsiteX2" fmla="*/ 1807068 w 2063523"/>
                <a:gd name="connsiteY2" fmla="*/ 0 h 4034413"/>
                <a:gd name="connsiteX3" fmla="*/ 2063521 w 2063523"/>
                <a:gd name="connsiteY3" fmla="*/ 0 h 4034413"/>
                <a:gd name="connsiteX4" fmla="*/ 2063521 w 2063523"/>
                <a:gd name="connsiteY4" fmla="*/ 256435 h 4034413"/>
                <a:gd name="connsiteX5" fmla="*/ 2063523 w 2063523"/>
                <a:gd name="connsiteY5" fmla="*/ 256455 h 4034413"/>
                <a:gd name="connsiteX6" fmla="*/ 2063523 w 2063523"/>
                <a:gd name="connsiteY6" fmla="*/ 3777958 h 4034413"/>
                <a:gd name="connsiteX7" fmla="*/ 1807068 w 2063523"/>
                <a:gd name="connsiteY7" fmla="*/ 4034413 h 4034413"/>
                <a:gd name="connsiteX8" fmla="*/ 1391480 w 2063523"/>
                <a:gd name="connsiteY8" fmla="*/ 4034413 h 4034413"/>
                <a:gd name="connsiteX9" fmla="*/ 256456 w 2063523"/>
                <a:gd name="connsiteY9" fmla="*/ 4034413 h 4034413"/>
                <a:gd name="connsiteX10" fmla="*/ 1 w 2063523"/>
                <a:gd name="connsiteY10" fmla="*/ 4034413 h 4034413"/>
                <a:gd name="connsiteX11" fmla="*/ 1 w 2063523"/>
                <a:gd name="connsiteY11" fmla="*/ 3777958 h 4034413"/>
                <a:gd name="connsiteX12" fmla="*/ 1 w 2063523"/>
                <a:gd name="connsiteY12" fmla="*/ 880688 h 4034413"/>
                <a:gd name="connsiteX13" fmla="*/ 0 w 2063523"/>
                <a:gd name="connsiteY13" fmla="*/ 880688 h 4034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3523" h="4034413">
                  <a:moveTo>
                    <a:pt x="0" y="0"/>
                  </a:moveTo>
                  <a:lnTo>
                    <a:pt x="256456" y="0"/>
                  </a:lnTo>
                  <a:lnTo>
                    <a:pt x="1807068" y="0"/>
                  </a:lnTo>
                  <a:lnTo>
                    <a:pt x="2063521" y="0"/>
                  </a:lnTo>
                  <a:lnTo>
                    <a:pt x="2063521" y="256435"/>
                  </a:lnTo>
                  <a:lnTo>
                    <a:pt x="2063523" y="256455"/>
                  </a:lnTo>
                  <a:lnTo>
                    <a:pt x="2063523" y="3777958"/>
                  </a:lnTo>
                  <a:cubicBezTo>
                    <a:pt x="2063523" y="3919594"/>
                    <a:pt x="1948704" y="4034413"/>
                    <a:pt x="1807068" y="4034413"/>
                  </a:cubicBezTo>
                  <a:lnTo>
                    <a:pt x="1391480" y="4034413"/>
                  </a:lnTo>
                  <a:lnTo>
                    <a:pt x="256456" y="4034413"/>
                  </a:lnTo>
                  <a:lnTo>
                    <a:pt x="1" y="4034413"/>
                  </a:lnTo>
                  <a:lnTo>
                    <a:pt x="1" y="3777958"/>
                  </a:lnTo>
                  <a:lnTo>
                    <a:pt x="1" y="880688"/>
                  </a:lnTo>
                  <a:lnTo>
                    <a:pt x="0" y="880688"/>
                  </a:lnTo>
                  <a:close/>
                </a:path>
              </a:pathLst>
            </a:custGeom>
            <a:solidFill>
              <a:srgbClr val="ED8F0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/>
            </a:p>
          </p:txBody>
        </p:sp>
        <p:sp>
          <p:nvSpPr>
            <p:cNvPr id="19" name="Afgeronde rechthoek 18">
              <a:extLst>
                <a:ext uri="{FF2B5EF4-FFF2-40B4-BE49-F238E27FC236}">
                  <a16:creationId xmlns:a16="http://schemas.microsoft.com/office/drawing/2014/main" id="{21789BE6-5D8F-C5D9-A867-4F301E8C0EBC}"/>
                </a:ext>
              </a:extLst>
            </p:cNvPr>
            <p:cNvSpPr/>
            <p:nvPr/>
          </p:nvSpPr>
          <p:spPr>
            <a:xfrm>
              <a:off x="7447141" y="1912637"/>
              <a:ext cx="1225166" cy="271510"/>
            </a:xfrm>
            <a:prstGeom prst="roundRect">
              <a:avLst>
                <a:gd name="adj" fmla="val 0"/>
              </a:avLst>
            </a:prstGeom>
            <a:solidFill>
              <a:srgbClr val="102F44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nl-NL" sz="1000" b="1" dirty="0">
                  <a:latin typeface="Arial Black" panose="020B0604020202020204" pitchFamily="34" charset="0"/>
                  <a:cs typeface="Arial Black" panose="020B0604020202020204" pitchFamily="34" charset="0"/>
                </a:rPr>
                <a:t>Optimaal</a:t>
              </a:r>
            </a:p>
          </p:txBody>
        </p:sp>
        <p:sp>
          <p:nvSpPr>
            <p:cNvPr id="20" name="Tekstvak 19">
              <a:extLst>
                <a:ext uri="{FF2B5EF4-FFF2-40B4-BE49-F238E27FC236}">
                  <a16:creationId xmlns:a16="http://schemas.microsoft.com/office/drawing/2014/main" id="{65345DF2-0312-9201-143B-208B3EC993AF}"/>
                </a:ext>
              </a:extLst>
            </p:cNvPr>
            <p:cNvSpPr txBox="1"/>
            <p:nvPr/>
          </p:nvSpPr>
          <p:spPr>
            <a:xfrm>
              <a:off x="7344963" y="2275575"/>
              <a:ext cx="2039815" cy="278288"/>
            </a:xfrm>
            <a:prstGeom prst="rect">
              <a:avLst/>
            </a:prstGeom>
            <a:noFill/>
          </p:spPr>
          <p:txBody>
            <a:bodyPr wrap="square" lIns="144000" rtlCol="0">
              <a:spAutoFit/>
            </a:bodyPr>
            <a:lstStyle/>
            <a:p>
              <a:r>
                <a:rPr lang="nl-NL" sz="105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novo Yoga Slim 7</a:t>
              </a:r>
            </a:p>
          </p:txBody>
        </p:sp>
        <p:sp>
          <p:nvSpPr>
            <p:cNvPr id="21" name="Tekstvak 20">
              <a:extLst>
                <a:ext uri="{FF2B5EF4-FFF2-40B4-BE49-F238E27FC236}">
                  <a16:creationId xmlns:a16="http://schemas.microsoft.com/office/drawing/2014/main" id="{83675B8D-E4F5-BF8E-14A3-242463BB4015}"/>
                </a:ext>
              </a:extLst>
            </p:cNvPr>
            <p:cNvSpPr txBox="1"/>
            <p:nvPr/>
          </p:nvSpPr>
          <p:spPr>
            <a:xfrm>
              <a:off x="7330923" y="3920014"/>
              <a:ext cx="1999622" cy="472246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oor veeleisende software en intensief gebruik.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651A0A17-F369-EE5B-696C-10E9BD1647C5}"/>
                </a:ext>
              </a:extLst>
            </p:cNvPr>
            <p:cNvSpPr txBox="1"/>
            <p:nvPr/>
          </p:nvSpPr>
          <p:spPr>
            <a:xfrm>
              <a:off x="7344963" y="4619578"/>
              <a:ext cx="1999622" cy="286721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b="1" dirty="0">
                  <a:solidFill>
                    <a:srgbClr val="ED8F0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op vanaf:</a:t>
              </a:r>
            </a:p>
          </p:txBody>
        </p:sp>
        <p:sp>
          <p:nvSpPr>
            <p:cNvPr id="23" name="Tekstvak 22">
              <a:extLst>
                <a:ext uri="{FF2B5EF4-FFF2-40B4-BE49-F238E27FC236}">
                  <a16:creationId xmlns:a16="http://schemas.microsoft.com/office/drawing/2014/main" id="{F0163E32-3476-6FDC-DF9B-61AFFF41BCB4}"/>
                </a:ext>
              </a:extLst>
            </p:cNvPr>
            <p:cNvSpPr txBox="1"/>
            <p:nvPr/>
          </p:nvSpPr>
          <p:spPr>
            <a:xfrm>
              <a:off x="7344963" y="4849594"/>
              <a:ext cx="1999622" cy="455380"/>
            </a:xfrm>
            <a:prstGeom prst="rect">
              <a:avLst/>
            </a:prstGeom>
            <a:noFill/>
          </p:spPr>
          <p:txBody>
            <a:bodyPr wrap="square" lIns="144000" tIns="0" rtlCol="0" anchor="t">
              <a:spAutoFit/>
            </a:bodyPr>
            <a:lstStyle/>
            <a:p>
              <a:r>
                <a:rPr lang="nl-NL" sz="24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€999,-</a:t>
              </a:r>
            </a:p>
          </p:txBody>
        </p:sp>
        <p:pic>
          <p:nvPicPr>
            <p:cNvPr id="39" name="Afbeelding 38" descr="Afbeelding met computer, computer, Elektronisch apparaat, Netbook&#10;&#10;Door AI gegenereerde inhoud is mogelijk onjuist.">
              <a:extLst>
                <a:ext uri="{FF2B5EF4-FFF2-40B4-BE49-F238E27FC236}">
                  <a16:creationId xmlns:a16="http://schemas.microsoft.com/office/drawing/2014/main" id="{9367EFA2-099B-8B88-1283-423324DE42D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7355374" y="2133167"/>
              <a:ext cx="1950719" cy="2137961"/>
            </a:xfrm>
            <a:prstGeom prst="rect">
              <a:avLst/>
            </a:prstGeom>
          </p:spPr>
        </p:pic>
        <p:sp>
          <p:nvSpPr>
            <p:cNvPr id="14" name="Tekstvak 13">
              <a:extLst>
                <a:ext uri="{FF2B5EF4-FFF2-40B4-BE49-F238E27FC236}">
                  <a16:creationId xmlns:a16="http://schemas.microsoft.com/office/drawing/2014/main" id="{731424B0-8BC4-1D65-3875-94D4C5889EA6}"/>
                </a:ext>
              </a:extLst>
            </p:cNvPr>
            <p:cNvSpPr txBox="1"/>
            <p:nvPr/>
          </p:nvSpPr>
          <p:spPr>
            <a:xfrm>
              <a:off x="7344963" y="5249680"/>
              <a:ext cx="1999622" cy="261610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b="1" dirty="0">
                  <a:solidFill>
                    <a:srgbClr val="ED8F0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ur vanaf:</a:t>
              </a:r>
            </a:p>
          </p:txBody>
        </p:sp>
        <p:sp>
          <p:nvSpPr>
            <p:cNvPr id="49" name="Tekstvak 48">
              <a:extLst>
                <a:ext uri="{FF2B5EF4-FFF2-40B4-BE49-F238E27FC236}">
                  <a16:creationId xmlns:a16="http://schemas.microsoft.com/office/drawing/2014/main" id="{DD5E866C-5730-534C-71A5-CA5B370EE551}"/>
                </a:ext>
              </a:extLst>
            </p:cNvPr>
            <p:cNvSpPr txBox="1"/>
            <p:nvPr/>
          </p:nvSpPr>
          <p:spPr>
            <a:xfrm>
              <a:off x="7325013" y="5457692"/>
              <a:ext cx="1966768" cy="415498"/>
            </a:xfrm>
            <a:prstGeom prst="rect">
              <a:avLst/>
            </a:prstGeom>
            <a:noFill/>
          </p:spPr>
          <p:txBody>
            <a:bodyPr wrap="square" lIns="144000" tIns="0" rtlCol="0" anchor="t">
              <a:spAutoFit/>
            </a:bodyPr>
            <a:lstStyle/>
            <a:p>
              <a:r>
                <a:rPr lang="nl-NL" sz="24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€27,95 </a:t>
              </a:r>
              <a:r>
                <a:rPr lang="nl-NL" sz="14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/m</a:t>
              </a:r>
              <a:r>
                <a:rPr lang="nl-NL" sz="1400" b="1" baseline="30000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*</a:t>
              </a:r>
              <a:endParaRPr lang="nl-NL" sz="2400" b="1" baseline="30000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3508050-62B7-1A1D-B363-4BEFA78F2B15}"/>
              </a:ext>
            </a:extLst>
          </p:cNvPr>
          <p:cNvGrpSpPr/>
          <p:nvPr/>
        </p:nvGrpSpPr>
        <p:grpSpPr>
          <a:xfrm>
            <a:off x="9665516" y="1637776"/>
            <a:ext cx="2063523" cy="4421660"/>
            <a:chOff x="8429501" y="1637776"/>
            <a:chExt cx="2063523" cy="4421660"/>
          </a:xfrm>
        </p:grpSpPr>
        <p:sp>
          <p:nvSpPr>
            <p:cNvPr id="15" name="Vrije vorm 14">
              <a:extLst>
                <a:ext uri="{FF2B5EF4-FFF2-40B4-BE49-F238E27FC236}">
                  <a16:creationId xmlns:a16="http://schemas.microsoft.com/office/drawing/2014/main" id="{4679A0DE-A620-3D91-3849-E3FFC0776030}"/>
                </a:ext>
              </a:extLst>
            </p:cNvPr>
            <p:cNvSpPr/>
            <p:nvPr/>
          </p:nvSpPr>
          <p:spPr>
            <a:xfrm>
              <a:off x="8429501" y="1637776"/>
              <a:ext cx="2063523" cy="4421660"/>
            </a:xfrm>
            <a:custGeom>
              <a:avLst/>
              <a:gdLst>
                <a:gd name="connsiteX0" fmla="*/ 0 w 2063523"/>
                <a:gd name="connsiteY0" fmla="*/ 0 h 4034413"/>
                <a:gd name="connsiteX1" fmla="*/ 256456 w 2063523"/>
                <a:gd name="connsiteY1" fmla="*/ 0 h 4034413"/>
                <a:gd name="connsiteX2" fmla="*/ 1807068 w 2063523"/>
                <a:gd name="connsiteY2" fmla="*/ 0 h 4034413"/>
                <a:gd name="connsiteX3" fmla="*/ 2063521 w 2063523"/>
                <a:gd name="connsiteY3" fmla="*/ 0 h 4034413"/>
                <a:gd name="connsiteX4" fmla="*/ 2063521 w 2063523"/>
                <a:gd name="connsiteY4" fmla="*/ 256435 h 4034413"/>
                <a:gd name="connsiteX5" fmla="*/ 2063523 w 2063523"/>
                <a:gd name="connsiteY5" fmla="*/ 256455 h 4034413"/>
                <a:gd name="connsiteX6" fmla="*/ 2063523 w 2063523"/>
                <a:gd name="connsiteY6" fmla="*/ 3777958 h 4034413"/>
                <a:gd name="connsiteX7" fmla="*/ 1807068 w 2063523"/>
                <a:gd name="connsiteY7" fmla="*/ 4034413 h 4034413"/>
                <a:gd name="connsiteX8" fmla="*/ 1391480 w 2063523"/>
                <a:gd name="connsiteY8" fmla="*/ 4034413 h 4034413"/>
                <a:gd name="connsiteX9" fmla="*/ 256456 w 2063523"/>
                <a:gd name="connsiteY9" fmla="*/ 4034413 h 4034413"/>
                <a:gd name="connsiteX10" fmla="*/ 1 w 2063523"/>
                <a:gd name="connsiteY10" fmla="*/ 4034413 h 4034413"/>
                <a:gd name="connsiteX11" fmla="*/ 1 w 2063523"/>
                <a:gd name="connsiteY11" fmla="*/ 3777958 h 4034413"/>
                <a:gd name="connsiteX12" fmla="*/ 1 w 2063523"/>
                <a:gd name="connsiteY12" fmla="*/ 880688 h 4034413"/>
                <a:gd name="connsiteX13" fmla="*/ 0 w 2063523"/>
                <a:gd name="connsiteY13" fmla="*/ 880688 h 4034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3523" h="4034413">
                  <a:moveTo>
                    <a:pt x="0" y="0"/>
                  </a:moveTo>
                  <a:lnTo>
                    <a:pt x="256456" y="0"/>
                  </a:lnTo>
                  <a:lnTo>
                    <a:pt x="1807068" y="0"/>
                  </a:lnTo>
                  <a:lnTo>
                    <a:pt x="2063521" y="0"/>
                  </a:lnTo>
                  <a:lnTo>
                    <a:pt x="2063521" y="256435"/>
                  </a:lnTo>
                  <a:lnTo>
                    <a:pt x="2063523" y="256455"/>
                  </a:lnTo>
                  <a:lnTo>
                    <a:pt x="2063523" y="3777958"/>
                  </a:lnTo>
                  <a:cubicBezTo>
                    <a:pt x="2063523" y="3919594"/>
                    <a:pt x="1948704" y="4034413"/>
                    <a:pt x="1807068" y="4034413"/>
                  </a:cubicBezTo>
                  <a:lnTo>
                    <a:pt x="1391480" y="4034413"/>
                  </a:lnTo>
                  <a:lnTo>
                    <a:pt x="256456" y="4034413"/>
                  </a:lnTo>
                  <a:lnTo>
                    <a:pt x="1" y="4034413"/>
                  </a:lnTo>
                  <a:lnTo>
                    <a:pt x="1" y="3777958"/>
                  </a:lnTo>
                  <a:lnTo>
                    <a:pt x="1" y="880688"/>
                  </a:lnTo>
                  <a:lnTo>
                    <a:pt x="0" y="880688"/>
                  </a:lnTo>
                  <a:close/>
                </a:path>
              </a:pathLst>
            </a:custGeom>
            <a:solidFill>
              <a:srgbClr val="ED8F0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/>
            </a:p>
          </p:txBody>
        </p:sp>
        <p:sp>
          <p:nvSpPr>
            <p:cNvPr id="4" name="Afgeronde rechthoek 3">
              <a:extLst>
                <a:ext uri="{FF2B5EF4-FFF2-40B4-BE49-F238E27FC236}">
                  <a16:creationId xmlns:a16="http://schemas.microsoft.com/office/drawing/2014/main" id="{DE844C74-1F6B-9F8D-B8C2-D9272A74A9C8}"/>
                </a:ext>
              </a:extLst>
            </p:cNvPr>
            <p:cNvSpPr/>
            <p:nvPr/>
          </p:nvSpPr>
          <p:spPr>
            <a:xfrm>
              <a:off x="8543532" y="1911168"/>
              <a:ext cx="1835458" cy="274447"/>
            </a:xfrm>
            <a:prstGeom prst="roundRect">
              <a:avLst>
                <a:gd name="adj" fmla="val 0"/>
              </a:avLst>
            </a:prstGeom>
            <a:solidFill>
              <a:srgbClr val="AA8FC2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nl-NL" sz="1000" b="1" dirty="0">
                  <a:latin typeface="Arial Black" panose="020B0604020202020204" pitchFamily="34" charset="0"/>
                  <a:cs typeface="Arial Black" panose="020B0604020202020204" pitchFamily="34" charset="0"/>
                </a:rPr>
                <a:t>Performance &amp; Gaming</a:t>
              </a:r>
            </a:p>
          </p:txBody>
        </p:sp>
        <p:sp>
          <p:nvSpPr>
            <p:cNvPr id="5" name="Tekstvak 4">
              <a:extLst>
                <a:ext uri="{FF2B5EF4-FFF2-40B4-BE49-F238E27FC236}">
                  <a16:creationId xmlns:a16="http://schemas.microsoft.com/office/drawing/2014/main" id="{EBC9BF82-9F73-8655-E6B1-E4950A357DB2}"/>
                </a:ext>
              </a:extLst>
            </p:cNvPr>
            <p:cNvSpPr txBox="1"/>
            <p:nvPr/>
          </p:nvSpPr>
          <p:spPr>
            <a:xfrm>
              <a:off x="8441356" y="2275575"/>
              <a:ext cx="2039815" cy="278288"/>
            </a:xfrm>
            <a:prstGeom prst="rect">
              <a:avLst/>
            </a:prstGeom>
            <a:noFill/>
          </p:spPr>
          <p:txBody>
            <a:bodyPr wrap="square" lIns="144000" rtlCol="0">
              <a:spAutoFit/>
            </a:bodyPr>
            <a:lstStyle/>
            <a:p>
              <a:r>
                <a:rPr lang="nl-NL" sz="105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novo LOQ 15</a:t>
              </a:r>
            </a:p>
          </p:txBody>
        </p:sp>
        <p:sp>
          <p:nvSpPr>
            <p:cNvPr id="6" name="Tekstvak 5">
              <a:extLst>
                <a:ext uri="{FF2B5EF4-FFF2-40B4-BE49-F238E27FC236}">
                  <a16:creationId xmlns:a16="http://schemas.microsoft.com/office/drawing/2014/main" id="{7BD6F8A9-630F-388F-6ECF-28D471F3CAFF}"/>
                </a:ext>
              </a:extLst>
            </p:cNvPr>
            <p:cNvSpPr txBox="1"/>
            <p:nvPr/>
          </p:nvSpPr>
          <p:spPr>
            <a:xfrm>
              <a:off x="8440185" y="3965842"/>
              <a:ext cx="2012647" cy="600164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itengewoon hoge prestaties. Voor studie en </a:t>
              </a:r>
              <a:r>
                <a:rPr lang="nl-NL" sz="1100" dirty="0" err="1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aming</a:t>
              </a:r>
              <a:r>
                <a:rPr lang="nl-NL" sz="1100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</a:t>
              </a:r>
            </a:p>
          </p:txBody>
        </p:sp>
        <p:sp>
          <p:nvSpPr>
            <p:cNvPr id="7" name="Tekstvak 6">
              <a:extLst>
                <a:ext uri="{FF2B5EF4-FFF2-40B4-BE49-F238E27FC236}">
                  <a16:creationId xmlns:a16="http://schemas.microsoft.com/office/drawing/2014/main" id="{B11F2B25-C088-9BFA-0225-501D89E6AAE0}"/>
                </a:ext>
              </a:extLst>
            </p:cNvPr>
            <p:cNvSpPr txBox="1"/>
            <p:nvPr/>
          </p:nvSpPr>
          <p:spPr>
            <a:xfrm>
              <a:off x="8441356" y="4626107"/>
              <a:ext cx="1999622" cy="286721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b="1" dirty="0">
                  <a:solidFill>
                    <a:srgbClr val="ED8F0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op vanaf:</a:t>
              </a:r>
            </a:p>
          </p:txBody>
        </p:sp>
        <p:sp>
          <p:nvSpPr>
            <p:cNvPr id="8" name="Tekstvak 7">
              <a:extLst>
                <a:ext uri="{FF2B5EF4-FFF2-40B4-BE49-F238E27FC236}">
                  <a16:creationId xmlns:a16="http://schemas.microsoft.com/office/drawing/2014/main" id="{62FB17A4-CB55-6452-10DD-8F0C9BBC9DB7}"/>
                </a:ext>
              </a:extLst>
            </p:cNvPr>
            <p:cNvSpPr txBox="1"/>
            <p:nvPr/>
          </p:nvSpPr>
          <p:spPr>
            <a:xfrm>
              <a:off x="8441356" y="4856124"/>
              <a:ext cx="1999622" cy="455380"/>
            </a:xfrm>
            <a:prstGeom prst="rect">
              <a:avLst/>
            </a:prstGeom>
            <a:noFill/>
          </p:spPr>
          <p:txBody>
            <a:bodyPr wrap="square" lIns="144000" tIns="0" rtlCol="0" anchor="t">
              <a:spAutoFit/>
            </a:bodyPr>
            <a:lstStyle/>
            <a:p>
              <a:r>
                <a:rPr lang="nl-NL" sz="24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€1199,-</a:t>
              </a:r>
            </a:p>
          </p:txBody>
        </p:sp>
        <p:pic>
          <p:nvPicPr>
            <p:cNvPr id="38" name="Afbeelding 37" descr="Afbeelding met computer, computer, Elektronisch apparaat, elektronica&#10;&#10;Door AI gegenereerde inhoud is mogelijk onjuist.">
              <a:extLst>
                <a:ext uri="{FF2B5EF4-FFF2-40B4-BE49-F238E27FC236}">
                  <a16:creationId xmlns:a16="http://schemas.microsoft.com/office/drawing/2014/main" id="{167334F7-2BD1-2A7F-89D5-ED293016B421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8485902" y="2079415"/>
              <a:ext cx="1950719" cy="2137961"/>
            </a:xfrm>
            <a:prstGeom prst="rect">
              <a:avLst/>
            </a:prstGeom>
          </p:spPr>
        </p:pic>
        <p:sp>
          <p:nvSpPr>
            <p:cNvPr id="46" name="Tekstvak 45">
              <a:extLst>
                <a:ext uri="{FF2B5EF4-FFF2-40B4-BE49-F238E27FC236}">
                  <a16:creationId xmlns:a16="http://schemas.microsoft.com/office/drawing/2014/main" id="{88BB540E-6520-32A5-25F9-763852612861}"/>
                </a:ext>
              </a:extLst>
            </p:cNvPr>
            <p:cNvSpPr txBox="1"/>
            <p:nvPr/>
          </p:nvSpPr>
          <p:spPr>
            <a:xfrm>
              <a:off x="8441356" y="5249680"/>
              <a:ext cx="1999622" cy="261610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b="1" dirty="0">
                  <a:solidFill>
                    <a:srgbClr val="ED8F0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ur vanaf:</a:t>
              </a:r>
            </a:p>
          </p:txBody>
        </p:sp>
        <p:sp>
          <p:nvSpPr>
            <p:cNvPr id="50" name="Tekstvak 49">
              <a:extLst>
                <a:ext uri="{FF2B5EF4-FFF2-40B4-BE49-F238E27FC236}">
                  <a16:creationId xmlns:a16="http://schemas.microsoft.com/office/drawing/2014/main" id="{DDCC0C55-00C9-7F6F-1D80-2D63C82CE2C2}"/>
                </a:ext>
              </a:extLst>
            </p:cNvPr>
            <p:cNvSpPr txBox="1"/>
            <p:nvPr/>
          </p:nvSpPr>
          <p:spPr>
            <a:xfrm>
              <a:off x="8433098" y="5457692"/>
              <a:ext cx="1795424" cy="415498"/>
            </a:xfrm>
            <a:prstGeom prst="rect">
              <a:avLst/>
            </a:prstGeom>
            <a:noFill/>
          </p:spPr>
          <p:txBody>
            <a:bodyPr wrap="square" lIns="144000" tIns="0" rtlCol="0" anchor="t">
              <a:spAutoFit/>
            </a:bodyPr>
            <a:lstStyle/>
            <a:p>
              <a:r>
                <a:rPr lang="nl-NL" sz="24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€31,95 </a:t>
              </a:r>
              <a:r>
                <a:rPr lang="nl-NL" sz="16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/m</a:t>
              </a:r>
              <a:r>
                <a:rPr lang="nl-NL" sz="1600" b="1" baseline="30000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*</a:t>
              </a:r>
              <a:endParaRPr lang="nl-NL" sz="2400" b="1" baseline="30000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53" name="Group 52">
            <a:extLst>
              <a:ext uri="{FF2B5EF4-FFF2-40B4-BE49-F238E27FC236}">
                <a16:creationId xmlns:a16="http://schemas.microsoft.com/office/drawing/2014/main" id="{D37BBCB5-91DC-463B-FDA7-8D9F6F2B7C9E}"/>
              </a:ext>
            </a:extLst>
          </p:cNvPr>
          <p:cNvGrpSpPr/>
          <p:nvPr/>
        </p:nvGrpSpPr>
        <p:grpSpPr>
          <a:xfrm>
            <a:off x="4995393" y="1637776"/>
            <a:ext cx="2068830" cy="4421660"/>
            <a:chOff x="3759378" y="1637776"/>
            <a:chExt cx="2068830" cy="4421660"/>
          </a:xfrm>
        </p:grpSpPr>
        <p:sp>
          <p:nvSpPr>
            <p:cNvPr id="25" name="Vrije vorm 24">
              <a:extLst>
                <a:ext uri="{FF2B5EF4-FFF2-40B4-BE49-F238E27FC236}">
                  <a16:creationId xmlns:a16="http://schemas.microsoft.com/office/drawing/2014/main" id="{E1FE090E-694E-0A9D-987D-06465AF40ECC}"/>
                </a:ext>
              </a:extLst>
            </p:cNvPr>
            <p:cNvSpPr/>
            <p:nvPr/>
          </p:nvSpPr>
          <p:spPr>
            <a:xfrm>
              <a:off x="3764685" y="1637776"/>
              <a:ext cx="2063523" cy="4421660"/>
            </a:xfrm>
            <a:custGeom>
              <a:avLst/>
              <a:gdLst>
                <a:gd name="connsiteX0" fmla="*/ 0 w 2063523"/>
                <a:gd name="connsiteY0" fmla="*/ 0 h 4034413"/>
                <a:gd name="connsiteX1" fmla="*/ 256456 w 2063523"/>
                <a:gd name="connsiteY1" fmla="*/ 0 h 4034413"/>
                <a:gd name="connsiteX2" fmla="*/ 1807068 w 2063523"/>
                <a:gd name="connsiteY2" fmla="*/ 0 h 4034413"/>
                <a:gd name="connsiteX3" fmla="*/ 2063521 w 2063523"/>
                <a:gd name="connsiteY3" fmla="*/ 0 h 4034413"/>
                <a:gd name="connsiteX4" fmla="*/ 2063521 w 2063523"/>
                <a:gd name="connsiteY4" fmla="*/ 256435 h 4034413"/>
                <a:gd name="connsiteX5" fmla="*/ 2063523 w 2063523"/>
                <a:gd name="connsiteY5" fmla="*/ 256455 h 4034413"/>
                <a:gd name="connsiteX6" fmla="*/ 2063523 w 2063523"/>
                <a:gd name="connsiteY6" fmla="*/ 3777958 h 4034413"/>
                <a:gd name="connsiteX7" fmla="*/ 1807068 w 2063523"/>
                <a:gd name="connsiteY7" fmla="*/ 4034413 h 4034413"/>
                <a:gd name="connsiteX8" fmla="*/ 1391480 w 2063523"/>
                <a:gd name="connsiteY8" fmla="*/ 4034413 h 4034413"/>
                <a:gd name="connsiteX9" fmla="*/ 256456 w 2063523"/>
                <a:gd name="connsiteY9" fmla="*/ 4034413 h 4034413"/>
                <a:gd name="connsiteX10" fmla="*/ 1 w 2063523"/>
                <a:gd name="connsiteY10" fmla="*/ 4034413 h 4034413"/>
                <a:gd name="connsiteX11" fmla="*/ 1 w 2063523"/>
                <a:gd name="connsiteY11" fmla="*/ 3777958 h 4034413"/>
                <a:gd name="connsiteX12" fmla="*/ 1 w 2063523"/>
                <a:gd name="connsiteY12" fmla="*/ 880688 h 4034413"/>
                <a:gd name="connsiteX13" fmla="*/ 0 w 2063523"/>
                <a:gd name="connsiteY13" fmla="*/ 880688 h 403441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2063523" h="4034413">
                  <a:moveTo>
                    <a:pt x="0" y="0"/>
                  </a:moveTo>
                  <a:lnTo>
                    <a:pt x="256456" y="0"/>
                  </a:lnTo>
                  <a:lnTo>
                    <a:pt x="1807068" y="0"/>
                  </a:lnTo>
                  <a:lnTo>
                    <a:pt x="2063521" y="0"/>
                  </a:lnTo>
                  <a:lnTo>
                    <a:pt x="2063521" y="256435"/>
                  </a:lnTo>
                  <a:lnTo>
                    <a:pt x="2063523" y="256455"/>
                  </a:lnTo>
                  <a:lnTo>
                    <a:pt x="2063523" y="3777958"/>
                  </a:lnTo>
                  <a:cubicBezTo>
                    <a:pt x="2063523" y="3919594"/>
                    <a:pt x="1948704" y="4034413"/>
                    <a:pt x="1807068" y="4034413"/>
                  </a:cubicBezTo>
                  <a:lnTo>
                    <a:pt x="1391480" y="4034413"/>
                  </a:lnTo>
                  <a:lnTo>
                    <a:pt x="256456" y="4034413"/>
                  </a:lnTo>
                  <a:lnTo>
                    <a:pt x="1" y="4034413"/>
                  </a:lnTo>
                  <a:lnTo>
                    <a:pt x="1" y="3777958"/>
                  </a:lnTo>
                  <a:lnTo>
                    <a:pt x="1" y="880688"/>
                  </a:lnTo>
                  <a:lnTo>
                    <a:pt x="0" y="880688"/>
                  </a:lnTo>
                  <a:close/>
                </a:path>
              </a:pathLst>
            </a:custGeom>
            <a:solidFill>
              <a:srgbClr val="ED8F0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/>
            </a:p>
          </p:txBody>
        </p:sp>
        <p:sp>
          <p:nvSpPr>
            <p:cNvPr id="13" name="Tekstvak 12">
              <a:extLst>
                <a:ext uri="{FF2B5EF4-FFF2-40B4-BE49-F238E27FC236}">
                  <a16:creationId xmlns:a16="http://schemas.microsoft.com/office/drawing/2014/main" id="{A6B97412-8FA4-E6E9-17DE-7ACCBDB623CA}"/>
                </a:ext>
              </a:extLst>
            </p:cNvPr>
            <p:cNvSpPr txBox="1"/>
            <p:nvPr/>
          </p:nvSpPr>
          <p:spPr>
            <a:xfrm>
              <a:off x="3764684" y="5249680"/>
              <a:ext cx="1999622" cy="261610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b="1" dirty="0">
                  <a:solidFill>
                    <a:srgbClr val="ED8F0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ur vanaf:</a:t>
              </a:r>
            </a:p>
          </p:txBody>
        </p:sp>
        <p:sp>
          <p:nvSpPr>
            <p:cNvPr id="48" name="Tekstvak 47">
              <a:extLst>
                <a:ext uri="{FF2B5EF4-FFF2-40B4-BE49-F238E27FC236}">
                  <a16:creationId xmlns:a16="http://schemas.microsoft.com/office/drawing/2014/main" id="{63D6CF12-4771-7171-1856-63EE10C1AFCC}"/>
                </a:ext>
              </a:extLst>
            </p:cNvPr>
            <p:cNvSpPr txBox="1"/>
            <p:nvPr/>
          </p:nvSpPr>
          <p:spPr>
            <a:xfrm>
              <a:off x="3768283" y="5457692"/>
              <a:ext cx="1937914" cy="415498"/>
            </a:xfrm>
            <a:prstGeom prst="rect">
              <a:avLst/>
            </a:prstGeom>
            <a:noFill/>
          </p:spPr>
          <p:txBody>
            <a:bodyPr wrap="square" lIns="144000" tIns="0" rtlCol="0" anchor="t">
              <a:spAutoFit/>
            </a:bodyPr>
            <a:lstStyle/>
            <a:p>
              <a:r>
                <a:rPr lang="nl-NL" sz="24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€19,95 </a:t>
              </a:r>
              <a:r>
                <a:rPr lang="nl-NL" sz="16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/m</a:t>
              </a:r>
              <a:r>
                <a:rPr lang="nl-NL" sz="1600" b="1" baseline="30000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*</a:t>
              </a:r>
              <a:endParaRPr lang="nl-NL" sz="2400" b="1" baseline="30000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Afgeronde rechthoek 25">
              <a:extLst>
                <a:ext uri="{FF2B5EF4-FFF2-40B4-BE49-F238E27FC236}">
                  <a16:creationId xmlns:a16="http://schemas.microsoft.com/office/drawing/2014/main" id="{9A2BE3F6-37E7-856D-8B9E-E6284398D491}"/>
                </a:ext>
              </a:extLst>
            </p:cNvPr>
            <p:cNvSpPr/>
            <p:nvPr/>
          </p:nvSpPr>
          <p:spPr>
            <a:xfrm>
              <a:off x="3878718" y="1916477"/>
              <a:ext cx="1023482" cy="267670"/>
            </a:xfrm>
            <a:prstGeom prst="roundRect">
              <a:avLst>
                <a:gd name="adj" fmla="val 0"/>
              </a:avLst>
            </a:prstGeom>
            <a:solidFill>
              <a:srgbClr val="ED8F0D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nl-NL" sz="1000" b="1" dirty="0">
                  <a:latin typeface="Arial Black" panose="020B0604020202020204" pitchFamily="34" charset="0"/>
                  <a:cs typeface="Arial Black" panose="020B0604020202020204" pitchFamily="34" charset="0"/>
                </a:rPr>
                <a:t>Aanbevolen</a:t>
              </a:r>
            </a:p>
          </p:txBody>
        </p:sp>
        <p:sp>
          <p:nvSpPr>
            <p:cNvPr id="27" name="Tekstvak 26">
              <a:extLst>
                <a:ext uri="{FF2B5EF4-FFF2-40B4-BE49-F238E27FC236}">
                  <a16:creationId xmlns:a16="http://schemas.microsoft.com/office/drawing/2014/main" id="{139E3713-2060-FDB0-4DBA-312DCBF46074}"/>
                </a:ext>
              </a:extLst>
            </p:cNvPr>
            <p:cNvSpPr txBox="1"/>
            <p:nvPr/>
          </p:nvSpPr>
          <p:spPr>
            <a:xfrm>
              <a:off x="3776540" y="2275575"/>
              <a:ext cx="2039815" cy="278288"/>
            </a:xfrm>
            <a:prstGeom prst="rect">
              <a:avLst/>
            </a:prstGeom>
            <a:noFill/>
          </p:spPr>
          <p:txBody>
            <a:bodyPr wrap="square" lIns="144000" rtlCol="0">
              <a:spAutoFit/>
            </a:bodyPr>
            <a:lstStyle/>
            <a:p>
              <a:r>
                <a:rPr lang="nl-NL" sz="105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Lenovo </a:t>
              </a:r>
              <a:r>
                <a:rPr lang="nl-NL" sz="1050" b="1" dirty="0" err="1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deaPad</a:t>
              </a:r>
              <a:r>
                <a:rPr lang="nl-NL" sz="105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Slim 5</a:t>
              </a:r>
            </a:p>
          </p:txBody>
        </p:sp>
        <p:sp>
          <p:nvSpPr>
            <p:cNvPr id="28" name="Tekstvak 27">
              <a:extLst>
                <a:ext uri="{FF2B5EF4-FFF2-40B4-BE49-F238E27FC236}">
                  <a16:creationId xmlns:a16="http://schemas.microsoft.com/office/drawing/2014/main" id="{9BF26997-3E4F-7AEA-6F1E-D0D1AAAEFD80}"/>
                </a:ext>
              </a:extLst>
            </p:cNvPr>
            <p:cNvSpPr txBox="1"/>
            <p:nvPr/>
          </p:nvSpPr>
          <p:spPr>
            <a:xfrm>
              <a:off x="3769452" y="3908236"/>
              <a:ext cx="1999622" cy="657771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en beter geheugen, een langere accuduur en meer snelheid.</a:t>
              </a:r>
            </a:p>
          </p:txBody>
        </p:sp>
        <p:sp>
          <p:nvSpPr>
            <p:cNvPr id="29" name="Tekstvak 28">
              <a:extLst>
                <a:ext uri="{FF2B5EF4-FFF2-40B4-BE49-F238E27FC236}">
                  <a16:creationId xmlns:a16="http://schemas.microsoft.com/office/drawing/2014/main" id="{2E58865B-B5C8-4DC4-7230-B45F45E25F8C}"/>
                </a:ext>
              </a:extLst>
            </p:cNvPr>
            <p:cNvSpPr txBox="1"/>
            <p:nvPr/>
          </p:nvSpPr>
          <p:spPr>
            <a:xfrm>
              <a:off x="3759378" y="4619191"/>
              <a:ext cx="1999622" cy="286721"/>
            </a:xfrm>
            <a:prstGeom prst="rect">
              <a:avLst/>
            </a:prstGeom>
            <a:noFill/>
          </p:spPr>
          <p:txBody>
            <a:bodyPr wrap="square" lIns="144000" rtlCol="0" anchor="b">
              <a:spAutoFit/>
            </a:bodyPr>
            <a:lstStyle/>
            <a:p>
              <a:r>
                <a:rPr lang="nl-NL" sz="1100" b="1" dirty="0">
                  <a:solidFill>
                    <a:srgbClr val="ED8F0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oop vanaf:</a:t>
              </a:r>
            </a:p>
          </p:txBody>
        </p:sp>
        <p:sp>
          <p:nvSpPr>
            <p:cNvPr id="30" name="Tekstvak 29">
              <a:extLst>
                <a:ext uri="{FF2B5EF4-FFF2-40B4-BE49-F238E27FC236}">
                  <a16:creationId xmlns:a16="http://schemas.microsoft.com/office/drawing/2014/main" id="{77C92D89-EE54-35F4-C5C4-32ADF488E9E3}"/>
                </a:ext>
              </a:extLst>
            </p:cNvPr>
            <p:cNvSpPr txBox="1"/>
            <p:nvPr/>
          </p:nvSpPr>
          <p:spPr>
            <a:xfrm>
              <a:off x="3759378" y="4849208"/>
              <a:ext cx="1999622" cy="455380"/>
            </a:xfrm>
            <a:prstGeom prst="rect">
              <a:avLst/>
            </a:prstGeom>
            <a:noFill/>
          </p:spPr>
          <p:txBody>
            <a:bodyPr wrap="square" lIns="144000" tIns="0" rtlCol="0" anchor="t">
              <a:spAutoFit/>
            </a:bodyPr>
            <a:lstStyle/>
            <a:p>
              <a:r>
                <a:rPr lang="nl-NL" sz="2400" b="1" dirty="0">
                  <a:solidFill>
                    <a:srgbClr val="102F4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€649,-</a:t>
              </a:r>
            </a:p>
          </p:txBody>
        </p:sp>
        <p:pic>
          <p:nvPicPr>
            <p:cNvPr id="41" name="Afbeelding 40" descr="Afbeelding met notitieblok, computer, computer, Netbook&#10;&#10;Door AI gegenereerde inhoud is mogelijk onjuist.">
              <a:extLst>
                <a:ext uri="{FF2B5EF4-FFF2-40B4-BE49-F238E27FC236}">
                  <a16:creationId xmlns:a16="http://schemas.microsoft.com/office/drawing/2014/main" id="{9494B75C-EA37-5B98-1302-1B417FD7AC87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83829" y="2133168"/>
              <a:ext cx="1950719" cy="2137961"/>
            </a:xfrm>
            <a:prstGeom prst="rect">
              <a:avLst/>
            </a:prstGeom>
          </p:spPr>
        </p:pic>
      </p:grpSp>
      <p:sp>
        <p:nvSpPr>
          <p:cNvPr id="3" name="Tekstvak 38">
            <a:extLst>
              <a:ext uri="{FF2B5EF4-FFF2-40B4-BE49-F238E27FC236}">
                <a16:creationId xmlns:a16="http://schemas.microsoft.com/office/drawing/2014/main" id="{782D4E74-D0FD-63CB-F17B-8A54CD5509E3}"/>
              </a:ext>
            </a:extLst>
          </p:cNvPr>
          <p:cNvSpPr txBox="1"/>
          <p:nvPr/>
        </p:nvSpPr>
        <p:spPr>
          <a:xfrm>
            <a:off x="4726507" y="6133561"/>
            <a:ext cx="691596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sz="1200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Alle huurabonnementen zijn inclusief het Gemak en Zekerheid servicepakket.</a:t>
            </a:r>
          </a:p>
        </p:txBody>
      </p:sp>
      <p:pic>
        <p:nvPicPr>
          <p:cNvPr id="45" name="Afbeelding 44">
            <a:extLst>
              <a:ext uri="{FF2B5EF4-FFF2-40B4-BE49-F238E27FC236}">
                <a16:creationId xmlns:a16="http://schemas.microsoft.com/office/drawing/2014/main" id="{5B18F2A9-126B-E2FF-CA5F-501F6AB86694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293630" y="1637776"/>
            <a:ext cx="1840575" cy="226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40373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20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0259ADD-1488-976D-D23B-B7DD2C3B764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b="1" dirty="0">
                <a:latin typeface="Montserrat" panose="00000500000000000000" pitchFamily="2" charset="0"/>
              </a:rPr>
              <a:t>Keuzehulp voor de student</a:t>
            </a:r>
          </a:p>
        </p:txBody>
      </p:sp>
      <p:pic>
        <p:nvPicPr>
          <p:cNvPr id="3" name="Afbeelding 2" descr="Afbeelding met tekst, schermopname, nummer, agenda&#10;&#10;Automatisch gegenereerde beschrijving">
            <a:extLst>
              <a:ext uri="{FF2B5EF4-FFF2-40B4-BE49-F238E27FC236}">
                <a16:creationId xmlns:a16="http://schemas.microsoft.com/office/drawing/2014/main" id="{412DD7E4-B5A6-C2C7-61B9-35906AD1729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76565" y="1247470"/>
            <a:ext cx="10692406" cy="5471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3657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F56287D1-8B09-97D1-4BCF-81940698B9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b="1" dirty="0">
                <a:latin typeface="Montserrat" panose="00000500000000000000" pitchFamily="2" charset="0"/>
              </a:rPr>
              <a:t>Servicepakketten</a:t>
            </a:r>
          </a:p>
        </p:txBody>
      </p:sp>
      <p:sp>
        <p:nvSpPr>
          <p:cNvPr id="39" name="Tekstvak 38">
            <a:extLst>
              <a:ext uri="{FF2B5EF4-FFF2-40B4-BE49-F238E27FC236}">
                <a16:creationId xmlns:a16="http://schemas.microsoft.com/office/drawing/2014/main" id="{85F8B73E-41ED-F687-9B9B-8E5D154D6495}"/>
              </a:ext>
            </a:extLst>
          </p:cNvPr>
          <p:cNvSpPr txBox="1"/>
          <p:nvPr/>
        </p:nvSpPr>
        <p:spPr>
          <a:xfrm>
            <a:off x="6236922" y="6221845"/>
            <a:ext cx="4169530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nl-NL" sz="900" dirty="0">
                <a:effectLst/>
                <a:latin typeface="Montserrat" panose="00000500000000000000" pitchFamily="2" charset="0"/>
                <a:cs typeface="Arial" panose="020B0604020202020204" pitchFamily="34" charset="0"/>
              </a:rPr>
              <a:t>*Eigen risico is afhankelijk van gekozen toestel</a:t>
            </a:r>
          </a:p>
          <a:p>
            <a:pPr algn="r"/>
            <a:endParaRPr lang="nl-NL" sz="1000" dirty="0">
              <a:latin typeface="Montserrat" panose="00000500000000000000" pitchFamily="2" charset="0"/>
              <a:cs typeface="Arial" panose="020B0604020202020204" pitchFamily="34" charset="0"/>
            </a:endParaRPr>
          </a:p>
        </p:txBody>
      </p:sp>
      <p:grpSp>
        <p:nvGrpSpPr>
          <p:cNvPr id="48" name="Groep 47">
            <a:extLst>
              <a:ext uri="{FF2B5EF4-FFF2-40B4-BE49-F238E27FC236}">
                <a16:creationId xmlns:a16="http://schemas.microsoft.com/office/drawing/2014/main" id="{653AB3A7-BD97-E743-2501-8F357684315C}"/>
              </a:ext>
            </a:extLst>
          </p:cNvPr>
          <p:cNvGrpSpPr/>
          <p:nvPr/>
        </p:nvGrpSpPr>
        <p:grpSpPr>
          <a:xfrm>
            <a:off x="1766521" y="1459182"/>
            <a:ext cx="4148334" cy="4671164"/>
            <a:chOff x="1766521" y="1459182"/>
            <a:chExt cx="4148334" cy="4671164"/>
          </a:xfrm>
        </p:grpSpPr>
        <p:sp>
          <p:nvSpPr>
            <p:cNvPr id="46" name="Vrije vorm 45">
              <a:extLst>
                <a:ext uri="{FF2B5EF4-FFF2-40B4-BE49-F238E27FC236}">
                  <a16:creationId xmlns:a16="http://schemas.microsoft.com/office/drawing/2014/main" id="{D0D76A14-4D5F-6BE3-484F-E7BC2C64AFE1}"/>
                </a:ext>
              </a:extLst>
            </p:cNvPr>
            <p:cNvSpPr/>
            <p:nvPr/>
          </p:nvSpPr>
          <p:spPr>
            <a:xfrm>
              <a:off x="1766521" y="1643198"/>
              <a:ext cx="4148334" cy="4487148"/>
            </a:xfrm>
            <a:custGeom>
              <a:avLst/>
              <a:gdLst>
                <a:gd name="connsiteX0" fmla="*/ 0 w 4148334"/>
                <a:gd name="connsiteY0" fmla="*/ 0 h 4487148"/>
                <a:gd name="connsiteX1" fmla="*/ 296779 w 4148334"/>
                <a:gd name="connsiteY1" fmla="*/ 0 h 4487148"/>
                <a:gd name="connsiteX2" fmla="*/ 3847463 w 4148334"/>
                <a:gd name="connsiteY2" fmla="*/ 0 h 4487148"/>
                <a:gd name="connsiteX3" fmla="*/ 4144242 w 4148334"/>
                <a:gd name="connsiteY3" fmla="*/ 0 h 4487148"/>
                <a:gd name="connsiteX4" fmla="*/ 4144242 w 4148334"/>
                <a:gd name="connsiteY4" fmla="*/ 228139 h 4487148"/>
                <a:gd name="connsiteX5" fmla="*/ 4148334 w 4148334"/>
                <a:gd name="connsiteY5" fmla="*/ 268731 h 4487148"/>
                <a:gd name="connsiteX6" fmla="*/ 4148334 w 4148334"/>
                <a:gd name="connsiteY6" fmla="*/ 4218419 h 4487148"/>
                <a:gd name="connsiteX7" fmla="*/ 3879605 w 4148334"/>
                <a:gd name="connsiteY7" fmla="*/ 4487148 h 4487148"/>
                <a:gd name="connsiteX8" fmla="*/ 268730 w 4148334"/>
                <a:gd name="connsiteY8" fmla="*/ 4487148 h 4487148"/>
                <a:gd name="connsiteX9" fmla="*/ 268710 w 4148334"/>
                <a:gd name="connsiteY9" fmla="*/ 4487146 h 4487148"/>
                <a:gd name="connsiteX10" fmla="*/ 0 w 4148334"/>
                <a:gd name="connsiteY10" fmla="*/ 4487146 h 448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48334" h="4487148">
                  <a:moveTo>
                    <a:pt x="0" y="0"/>
                  </a:moveTo>
                  <a:lnTo>
                    <a:pt x="296779" y="0"/>
                  </a:lnTo>
                  <a:lnTo>
                    <a:pt x="3847463" y="0"/>
                  </a:lnTo>
                  <a:lnTo>
                    <a:pt x="4144242" y="0"/>
                  </a:lnTo>
                  <a:lnTo>
                    <a:pt x="4144242" y="228139"/>
                  </a:lnTo>
                  <a:lnTo>
                    <a:pt x="4148334" y="268731"/>
                  </a:lnTo>
                  <a:lnTo>
                    <a:pt x="4148334" y="4218419"/>
                  </a:lnTo>
                  <a:cubicBezTo>
                    <a:pt x="4148334" y="4366834"/>
                    <a:pt x="4028020" y="4487148"/>
                    <a:pt x="3879605" y="4487148"/>
                  </a:cubicBezTo>
                  <a:lnTo>
                    <a:pt x="268730" y="4487148"/>
                  </a:lnTo>
                  <a:lnTo>
                    <a:pt x="268710" y="4487146"/>
                  </a:lnTo>
                  <a:lnTo>
                    <a:pt x="0" y="4487146"/>
                  </a:lnTo>
                  <a:close/>
                </a:path>
              </a:pathLst>
            </a:custGeom>
            <a:solidFill>
              <a:schemeClr val="bg1">
                <a:lumMod val="95000"/>
              </a:scheme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>
                <a:latin typeface="Montserrat" panose="00000500000000000000" pitchFamily="2" charset="0"/>
              </a:endParaRPr>
            </a:p>
          </p:txBody>
        </p:sp>
        <p:sp>
          <p:nvSpPr>
            <p:cNvPr id="4" name="Afgeronde rechthoek 3">
              <a:extLst>
                <a:ext uri="{FF2B5EF4-FFF2-40B4-BE49-F238E27FC236}">
                  <a16:creationId xmlns:a16="http://schemas.microsoft.com/office/drawing/2014/main" id="{3855A98C-D161-6A39-4EE7-89523ED5FEE6}"/>
                </a:ext>
              </a:extLst>
            </p:cNvPr>
            <p:cNvSpPr/>
            <p:nvPr/>
          </p:nvSpPr>
          <p:spPr>
            <a:xfrm>
              <a:off x="2501287" y="1459182"/>
              <a:ext cx="2700000" cy="301948"/>
            </a:xfrm>
            <a:prstGeom prst="roundRect">
              <a:avLst/>
            </a:prstGeom>
            <a:solidFill>
              <a:srgbClr val="ED8F0D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nl-NL" sz="1200" b="1" dirty="0">
                  <a:latin typeface="Montserrat" panose="00000500000000000000" pitchFamily="2" charset="0"/>
                  <a:cs typeface="Arial Black" panose="020B0604020202020204" pitchFamily="34" charset="0"/>
                </a:rPr>
                <a:t>Altijd met</a:t>
              </a:r>
            </a:p>
          </p:txBody>
        </p:sp>
        <p:sp>
          <p:nvSpPr>
            <p:cNvPr id="10" name="Tekstvak 9">
              <a:extLst>
                <a:ext uri="{FF2B5EF4-FFF2-40B4-BE49-F238E27FC236}">
                  <a16:creationId xmlns:a16="http://schemas.microsoft.com/office/drawing/2014/main" id="{3CE628F3-9DB6-FED7-5CC3-7FDDA92C78E7}"/>
                </a:ext>
              </a:extLst>
            </p:cNvPr>
            <p:cNvSpPr txBox="1"/>
            <p:nvPr/>
          </p:nvSpPr>
          <p:spPr>
            <a:xfrm>
              <a:off x="2107130" y="4105689"/>
              <a:ext cx="3619372" cy="120032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Gratis thuisbezorgd</a:t>
              </a:r>
            </a:p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Direct klaar voor gebruik</a:t>
              </a:r>
            </a:p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Haal- en brengservice bij garantie &amp; schade</a:t>
              </a:r>
            </a:p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Leenlaptop bij reparatie</a:t>
              </a:r>
            </a:p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Grondige check bij reparatie</a:t>
              </a:r>
            </a:p>
          </p:txBody>
        </p:sp>
        <p:sp>
          <p:nvSpPr>
            <p:cNvPr id="14" name="Tekstvak 13">
              <a:extLst>
                <a:ext uri="{FF2B5EF4-FFF2-40B4-BE49-F238E27FC236}">
                  <a16:creationId xmlns:a16="http://schemas.microsoft.com/office/drawing/2014/main" id="{06140412-910A-4C2C-1530-0AD808917D5D}"/>
                </a:ext>
              </a:extLst>
            </p:cNvPr>
            <p:cNvSpPr txBox="1"/>
            <p:nvPr/>
          </p:nvSpPr>
          <p:spPr>
            <a:xfrm>
              <a:off x="2569494" y="2231242"/>
              <a:ext cx="2563586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b="1" dirty="0">
                  <a:solidFill>
                    <a:srgbClr val="ED8F0D"/>
                  </a:solidFill>
                  <a:latin typeface="Montserrat" panose="00000500000000000000" pitchFamily="2" charset="0"/>
                  <a:cs typeface="Arial Black" panose="020B0604020202020204" pitchFamily="34" charset="0"/>
                </a:rPr>
                <a:t>Gemak</a:t>
              </a:r>
            </a:p>
          </p:txBody>
        </p:sp>
        <p:cxnSp>
          <p:nvCxnSpPr>
            <p:cNvPr id="16" name="Rechte verbindingslijn 15">
              <a:extLst>
                <a:ext uri="{FF2B5EF4-FFF2-40B4-BE49-F238E27FC236}">
                  <a16:creationId xmlns:a16="http://schemas.microsoft.com/office/drawing/2014/main" id="{0335757F-7152-C471-A2D5-C0466C5D6AAC}"/>
                </a:ext>
              </a:extLst>
            </p:cNvPr>
            <p:cNvCxnSpPr>
              <a:cxnSpLocks/>
            </p:cNvCxnSpPr>
            <p:nvPr/>
          </p:nvCxnSpPr>
          <p:spPr>
            <a:xfrm>
              <a:off x="2099357" y="2636930"/>
              <a:ext cx="3503861" cy="0"/>
            </a:xfrm>
            <a:prstGeom prst="line">
              <a:avLst/>
            </a:prstGeom>
            <a:ln>
              <a:solidFill>
                <a:srgbClr val="ED8F0D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Rechte verbindingslijn 17">
              <a:extLst>
                <a:ext uri="{FF2B5EF4-FFF2-40B4-BE49-F238E27FC236}">
                  <a16:creationId xmlns:a16="http://schemas.microsoft.com/office/drawing/2014/main" id="{01C591CF-BBAA-8959-E26B-235979948CFF}"/>
                </a:ext>
              </a:extLst>
            </p:cNvPr>
            <p:cNvCxnSpPr>
              <a:cxnSpLocks/>
            </p:cNvCxnSpPr>
            <p:nvPr/>
          </p:nvCxnSpPr>
          <p:spPr>
            <a:xfrm>
              <a:off x="2099357" y="3977118"/>
              <a:ext cx="3503861" cy="0"/>
            </a:xfrm>
            <a:prstGeom prst="line">
              <a:avLst/>
            </a:prstGeom>
            <a:ln>
              <a:solidFill>
                <a:srgbClr val="ED8F0D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19" name="Tekstvak 18">
              <a:extLst>
                <a:ext uri="{FF2B5EF4-FFF2-40B4-BE49-F238E27FC236}">
                  <a16:creationId xmlns:a16="http://schemas.microsoft.com/office/drawing/2014/main" id="{00DB2526-3C4B-0F42-7410-DCF6B479D08B}"/>
                </a:ext>
              </a:extLst>
            </p:cNvPr>
            <p:cNvSpPr txBox="1"/>
            <p:nvPr/>
          </p:nvSpPr>
          <p:spPr>
            <a:xfrm>
              <a:off x="2107130" y="2788330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b="1" dirty="0">
                  <a:latin typeface="Montserrat" panose="00000500000000000000" pitchFamily="2" charset="0"/>
                  <a:cs typeface="Arial" panose="020B0604020202020204" pitchFamily="34" charset="0"/>
                </a:rPr>
                <a:t>2 jaar</a:t>
              </a:r>
            </a:p>
          </p:txBody>
        </p:sp>
        <p:sp>
          <p:nvSpPr>
            <p:cNvPr id="22" name="Tekstvak 21">
              <a:extLst>
                <a:ext uri="{FF2B5EF4-FFF2-40B4-BE49-F238E27FC236}">
                  <a16:creationId xmlns:a16="http://schemas.microsoft.com/office/drawing/2014/main" id="{9E70D503-A64A-C9C4-C012-61F5E59FB7D2}"/>
                </a:ext>
              </a:extLst>
            </p:cNvPr>
            <p:cNvSpPr txBox="1"/>
            <p:nvPr/>
          </p:nvSpPr>
          <p:spPr>
            <a:xfrm>
              <a:off x="4647906" y="2788330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b="1" dirty="0">
                  <a:latin typeface="Montserrat" panose="00000500000000000000" pitchFamily="2" charset="0"/>
                  <a:cs typeface="Arial" panose="020B0604020202020204" pitchFamily="34" charset="0"/>
                </a:rPr>
                <a:t>4 jaar</a:t>
              </a:r>
            </a:p>
          </p:txBody>
        </p:sp>
        <p:sp>
          <p:nvSpPr>
            <p:cNvPr id="23" name="Tekstvak 22">
              <a:extLst>
                <a:ext uri="{FF2B5EF4-FFF2-40B4-BE49-F238E27FC236}">
                  <a16:creationId xmlns:a16="http://schemas.microsoft.com/office/drawing/2014/main" id="{BB64A34A-80B1-A86F-398D-E5008A7D87C1}"/>
                </a:ext>
              </a:extLst>
            </p:cNvPr>
            <p:cNvSpPr txBox="1"/>
            <p:nvPr/>
          </p:nvSpPr>
          <p:spPr>
            <a:xfrm>
              <a:off x="3370538" y="2788330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b="1" dirty="0">
                  <a:latin typeface="Montserrat" panose="00000500000000000000" pitchFamily="2" charset="0"/>
                  <a:cs typeface="Arial" panose="020B0604020202020204" pitchFamily="34" charset="0"/>
                </a:rPr>
                <a:t>3 jaar</a:t>
              </a:r>
            </a:p>
          </p:txBody>
        </p:sp>
        <p:sp>
          <p:nvSpPr>
            <p:cNvPr id="24" name="Tekstvak 23">
              <a:extLst>
                <a:ext uri="{FF2B5EF4-FFF2-40B4-BE49-F238E27FC236}">
                  <a16:creationId xmlns:a16="http://schemas.microsoft.com/office/drawing/2014/main" id="{670B095B-7A22-915E-9ECD-2AAB551EFD65}"/>
                </a:ext>
              </a:extLst>
            </p:cNvPr>
            <p:cNvSpPr txBox="1"/>
            <p:nvPr/>
          </p:nvSpPr>
          <p:spPr>
            <a:xfrm>
              <a:off x="2107130" y="3325802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dirty="0">
                  <a:latin typeface="Montserrat" panose="00000500000000000000" pitchFamily="2" charset="0"/>
                  <a:cs typeface="Arial" panose="020B0604020202020204" pitchFamily="34" charset="0"/>
                </a:rPr>
                <a:t>€19,-</a:t>
              </a:r>
            </a:p>
          </p:txBody>
        </p:sp>
        <p:sp>
          <p:nvSpPr>
            <p:cNvPr id="25" name="Tekstvak 24">
              <a:extLst>
                <a:ext uri="{FF2B5EF4-FFF2-40B4-BE49-F238E27FC236}">
                  <a16:creationId xmlns:a16="http://schemas.microsoft.com/office/drawing/2014/main" id="{00DA6415-FCBF-7282-0834-63399E4F1816}"/>
                </a:ext>
              </a:extLst>
            </p:cNvPr>
            <p:cNvSpPr txBox="1"/>
            <p:nvPr/>
          </p:nvSpPr>
          <p:spPr>
            <a:xfrm>
              <a:off x="4647906" y="3325802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dirty="0">
                  <a:latin typeface="Montserrat" panose="00000500000000000000" pitchFamily="2" charset="0"/>
                  <a:cs typeface="Arial" panose="020B0604020202020204" pitchFamily="34" charset="0"/>
                </a:rPr>
                <a:t>€99,-</a:t>
              </a:r>
            </a:p>
          </p:txBody>
        </p:sp>
        <p:sp>
          <p:nvSpPr>
            <p:cNvPr id="26" name="Tekstvak 25">
              <a:extLst>
                <a:ext uri="{FF2B5EF4-FFF2-40B4-BE49-F238E27FC236}">
                  <a16:creationId xmlns:a16="http://schemas.microsoft.com/office/drawing/2014/main" id="{99B2F30C-5718-9090-4480-874B3F7DC8C5}"/>
                </a:ext>
              </a:extLst>
            </p:cNvPr>
            <p:cNvSpPr txBox="1"/>
            <p:nvPr/>
          </p:nvSpPr>
          <p:spPr>
            <a:xfrm>
              <a:off x="3370538" y="3325802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dirty="0">
                  <a:latin typeface="Montserrat" panose="00000500000000000000" pitchFamily="2" charset="0"/>
                  <a:cs typeface="Arial" panose="020B0604020202020204" pitchFamily="34" charset="0"/>
                </a:rPr>
                <a:t>€49,-</a:t>
              </a:r>
            </a:p>
          </p:txBody>
        </p:sp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A8C3E48E-5211-C452-A282-046FCA9C3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604236" y="1912488"/>
              <a:ext cx="494101" cy="336887"/>
            </a:xfrm>
            <a:prstGeom prst="rect">
              <a:avLst/>
            </a:prstGeom>
          </p:spPr>
        </p:pic>
      </p:grpSp>
      <p:grpSp>
        <p:nvGrpSpPr>
          <p:cNvPr id="49" name="Groep 48">
            <a:extLst>
              <a:ext uri="{FF2B5EF4-FFF2-40B4-BE49-F238E27FC236}">
                <a16:creationId xmlns:a16="http://schemas.microsoft.com/office/drawing/2014/main" id="{5C7201E2-147C-359C-2871-CD4F99E405F7}"/>
              </a:ext>
            </a:extLst>
          </p:cNvPr>
          <p:cNvGrpSpPr/>
          <p:nvPr/>
        </p:nvGrpSpPr>
        <p:grpSpPr>
          <a:xfrm>
            <a:off x="6251757" y="1459182"/>
            <a:ext cx="4148334" cy="4954831"/>
            <a:chOff x="6251757" y="1459182"/>
            <a:chExt cx="4148334" cy="4954831"/>
          </a:xfrm>
        </p:grpSpPr>
        <p:sp>
          <p:nvSpPr>
            <p:cNvPr id="47" name="Vrije vorm 46">
              <a:extLst>
                <a:ext uri="{FF2B5EF4-FFF2-40B4-BE49-F238E27FC236}">
                  <a16:creationId xmlns:a16="http://schemas.microsoft.com/office/drawing/2014/main" id="{F99A9D7D-A1B4-5C5E-0D1C-87730B4F848C}"/>
                </a:ext>
              </a:extLst>
            </p:cNvPr>
            <p:cNvSpPr/>
            <p:nvPr/>
          </p:nvSpPr>
          <p:spPr>
            <a:xfrm>
              <a:off x="6251757" y="1643198"/>
              <a:ext cx="4148334" cy="4487148"/>
            </a:xfrm>
            <a:custGeom>
              <a:avLst/>
              <a:gdLst>
                <a:gd name="connsiteX0" fmla="*/ 0 w 4148334"/>
                <a:gd name="connsiteY0" fmla="*/ 0 h 4487148"/>
                <a:gd name="connsiteX1" fmla="*/ 296779 w 4148334"/>
                <a:gd name="connsiteY1" fmla="*/ 0 h 4487148"/>
                <a:gd name="connsiteX2" fmla="*/ 3847463 w 4148334"/>
                <a:gd name="connsiteY2" fmla="*/ 0 h 4487148"/>
                <a:gd name="connsiteX3" fmla="*/ 4144242 w 4148334"/>
                <a:gd name="connsiteY3" fmla="*/ 0 h 4487148"/>
                <a:gd name="connsiteX4" fmla="*/ 4144242 w 4148334"/>
                <a:gd name="connsiteY4" fmla="*/ 228139 h 4487148"/>
                <a:gd name="connsiteX5" fmla="*/ 4148334 w 4148334"/>
                <a:gd name="connsiteY5" fmla="*/ 268731 h 4487148"/>
                <a:gd name="connsiteX6" fmla="*/ 4148334 w 4148334"/>
                <a:gd name="connsiteY6" fmla="*/ 4218419 h 4487148"/>
                <a:gd name="connsiteX7" fmla="*/ 3879605 w 4148334"/>
                <a:gd name="connsiteY7" fmla="*/ 4487148 h 4487148"/>
                <a:gd name="connsiteX8" fmla="*/ 268730 w 4148334"/>
                <a:gd name="connsiteY8" fmla="*/ 4487148 h 4487148"/>
                <a:gd name="connsiteX9" fmla="*/ 268710 w 4148334"/>
                <a:gd name="connsiteY9" fmla="*/ 4487146 h 4487148"/>
                <a:gd name="connsiteX10" fmla="*/ 0 w 4148334"/>
                <a:gd name="connsiteY10" fmla="*/ 4487146 h 448714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4148334" h="4487148">
                  <a:moveTo>
                    <a:pt x="0" y="0"/>
                  </a:moveTo>
                  <a:lnTo>
                    <a:pt x="296779" y="0"/>
                  </a:lnTo>
                  <a:lnTo>
                    <a:pt x="3847463" y="0"/>
                  </a:lnTo>
                  <a:lnTo>
                    <a:pt x="4144242" y="0"/>
                  </a:lnTo>
                  <a:lnTo>
                    <a:pt x="4144242" y="228139"/>
                  </a:lnTo>
                  <a:lnTo>
                    <a:pt x="4148334" y="268731"/>
                  </a:lnTo>
                  <a:lnTo>
                    <a:pt x="4148334" y="4218419"/>
                  </a:lnTo>
                  <a:cubicBezTo>
                    <a:pt x="4148334" y="4366834"/>
                    <a:pt x="4028020" y="4487148"/>
                    <a:pt x="3879605" y="4487148"/>
                  </a:cubicBezTo>
                  <a:lnTo>
                    <a:pt x="268730" y="4487148"/>
                  </a:lnTo>
                  <a:lnTo>
                    <a:pt x="268710" y="4487146"/>
                  </a:lnTo>
                  <a:lnTo>
                    <a:pt x="0" y="4487146"/>
                  </a:lnTo>
                  <a:close/>
                </a:path>
              </a:pathLst>
            </a:custGeom>
            <a:solidFill>
              <a:srgbClr val="ED8F0D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nl-NL">
                <a:latin typeface="Montserrat" panose="00000500000000000000" pitchFamily="2" charset="0"/>
              </a:endParaRPr>
            </a:p>
          </p:txBody>
        </p:sp>
        <p:sp>
          <p:nvSpPr>
            <p:cNvPr id="6" name="Tekstvak 5">
              <a:extLst>
                <a:ext uri="{FF2B5EF4-FFF2-40B4-BE49-F238E27FC236}">
                  <a16:creationId xmlns:a16="http://schemas.microsoft.com/office/drawing/2014/main" id="{1B11C3FC-AF47-344D-041F-A634EDAAD2AB}"/>
                </a:ext>
              </a:extLst>
            </p:cNvPr>
            <p:cNvSpPr txBox="1"/>
            <p:nvPr/>
          </p:nvSpPr>
          <p:spPr>
            <a:xfrm>
              <a:off x="6569758" y="4105689"/>
              <a:ext cx="3514628" cy="230832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Gratis thuisbezorgd</a:t>
              </a:r>
            </a:p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Direct klaar voor gebruik</a:t>
              </a:r>
            </a:p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Haal- en brengservice bij garantie &amp; schade</a:t>
              </a:r>
            </a:p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Leenlaptop bij reparatie</a:t>
              </a:r>
            </a:p>
            <a:p>
              <a:pPr marL="171450" indent="-171450">
                <a:buSzPct val="120000"/>
                <a:buBlip>
                  <a:blip r:embed="rId3">
                    <a:extLst>
                      <a:ext uri="{96DAC541-7B7A-43D3-8B79-37D633B846F1}">
                        <asvg:svgBlip xmlns:asvg="http://schemas.microsoft.com/office/drawing/2016/SVG/main" r:embed="rId4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Grondige check bij reparatie</a:t>
              </a:r>
            </a:p>
            <a:p>
              <a:pPr marL="171450" indent="-171450">
                <a:buSzPct val="120000"/>
                <a:buBlip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Verlengde batterijgarantie</a:t>
              </a:r>
            </a:p>
            <a:p>
              <a:pPr marL="171450" indent="-171450">
                <a:buSzPct val="120000"/>
                <a:buBlip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Scherm- en valschadedekking</a:t>
              </a:r>
              <a:r>
                <a:rPr lang="nl-NL" sz="1200" baseline="300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*</a:t>
              </a:r>
            </a:p>
            <a:p>
              <a:pPr marL="171450" indent="-171450">
                <a:buSzPct val="120000"/>
                <a:buBlip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Vloeistof- en brandschadedekking</a:t>
              </a:r>
              <a:r>
                <a:rPr lang="nl-NL" sz="1200" baseline="300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*</a:t>
              </a:r>
            </a:p>
            <a:p>
              <a:pPr marL="171450" indent="-171450">
                <a:buSzPct val="120000"/>
                <a:buBlip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Internationale dekking op diefstal</a:t>
              </a:r>
              <a:r>
                <a:rPr lang="nl-NL" sz="1200" baseline="300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*</a:t>
              </a:r>
            </a:p>
            <a:p>
              <a:pPr marL="171450" indent="-171450">
                <a:buSzPct val="120000"/>
                <a:buBlip>
                  <a:blip r:embed="rId7">
                    <a:extLst>
                      <a:ext uri="{96DAC541-7B7A-43D3-8B79-37D633B846F1}">
                        <asvg:svgBlip xmlns:asvg="http://schemas.microsoft.com/office/drawing/2016/SVG/main" r:embed="rId8"/>
                      </a:ext>
                    </a:extLst>
                  </a:blip>
                </a:buBlip>
              </a:pPr>
              <a:r>
                <a:rPr lang="nl-NL" sz="1200" dirty="0">
                  <a:solidFill>
                    <a:srgbClr val="102F44"/>
                  </a:solidFill>
                  <a:effectLst/>
                  <a:latin typeface="Montserrat" panose="00000500000000000000" pitchFamily="2" charset="0"/>
                  <a:cs typeface="Arial" panose="020B0604020202020204" pitchFamily="34" charset="0"/>
                </a:rPr>
                <a:t>Wereldwijd verzekerd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nl-NL" sz="1200" dirty="0">
                <a:solidFill>
                  <a:srgbClr val="102F44"/>
                </a:solidFill>
                <a:effectLst/>
                <a:latin typeface="Montserrat" panose="00000500000000000000" pitchFamily="2" charset="0"/>
                <a:cs typeface="Arial" panose="020B0604020202020204" pitchFamily="34" charset="0"/>
              </a:endParaRPr>
            </a:p>
          </p:txBody>
        </p:sp>
        <p:sp>
          <p:nvSpPr>
            <p:cNvPr id="28" name="Afgeronde rechthoek 27">
              <a:extLst>
                <a:ext uri="{FF2B5EF4-FFF2-40B4-BE49-F238E27FC236}">
                  <a16:creationId xmlns:a16="http://schemas.microsoft.com/office/drawing/2014/main" id="{79A5E2DC-319C-1E8B-EDC6-5914893C8AEC}"/>
                </a:ext>
              </a:extLst>
            </p:cNvPr>
            <p:cNvSpPr/>
            <p:nvPr/>
          </p:nvSpPr>
          <p:spPr>
            <a:xfrm>
              <a:off x="6971271" y="1459182"/>
              <a:ext cx="2700832" cy="301948"/>
            </a:xfrm>
            <a:prstGeom prst="roundRect">
              <a:avLst/>
            </a:prstGeom>
            <a:solidFill>
              <a:srgbClr val="AA8FC2"/>
            </a:solidFill>
            <a:ln>
              <a:noFill/>
            </a:ln>
            <a:effectLst/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tIns="0" bIns="0" rtlCol="0" anchor="ctr"/>
            <a:lstStyle/>
            <a:p>
              <a:pPr algn="ctr"/>
              <a:r>
                <a:rPr lang="nl-NL" sz="1200" b="1" dirty="0">
                  <a:latin typeface="Montserrat" panose="00000500000000000000" pitchFamily="2" charset="0"/>
                  <a:cs typeface="Arial Black" panose="020B0604020202020204" pitchFamily="34" charset="0"/>
                </a:rPr>
                <a:t>Meest gekozen</a:t>
              </a:r>
            </a:p>
          </p:txBody>
        </p:sp>
        <p:sp>
          <p:nvSpPr>
            <p:cNvPr id="30" name="Tekstvak 29">
              <a:extLst>
                <a:ext uri="{FF2B5EF4-FFF2-40B4-BE49-F238E27FC236}">
                  <a16:creationId xmlns:a16="http://schemas.microsoft.com/office/drawing/2014/main" id="{BAF56668-89B6-62C7-456C-391D26662A78}"/>
                </a:ext>
              </a:extLst>
            </p:cNvPr>
            <p:cNvSpPr txBox="1"/>
            <p:nvPr/>
          </p:nvSpPr>
          <p:spPr>
            <a:xfrm>
              <a:off x="6577530" y="2231242"/>
              <a:ext cx="349608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nl-NL" b="1" dirty="0">
                  <a:solidFill>
                    <a:srgbClr val="AA8FC2"/>
                  </a:solidFill>
                  <a:latin typeface="Montserrat" panose="00000500000000000000" pitchFamily="2" charset="0"/>
                  <a:cs typeface="Arial Black" panose="020B0604020202020204" pitchFamily="34" charset="0"/>
                </a:rPr>
                <a:t>Gemak &amp; zekerheid</a:t>
              </a:r>
            </a:p>
          </p:txBody>
        </p:sp>
        <p:cxnSp>
          <p:nvCxnSpPr>
            <p:cNvPr id="31" name="Rechte verbindingslijn 30">
              <a:extLst>
                <a:ext uri="{FF2B5EF4-FFF2-40B4-BE49-F238E27FC236}">
                  <a16:creationId xmlns:a16="http://schemas.microsoft.com/office/drawing/2014/main" id="{99D1F589-4E9A-0C1C-B33F-1DD0DC7FD66C}"/>
                </a:ext>
              </a:extLst>
            </p:cNvPr>
            <p:cNvCxnSpPr>
              <a:cxnSpLocks/>
            </p:cNvCxnSpPr>
            <p:nvPr/>
          </p:nvCxnSpPr>
          <p:spPr>
            <a:xfrm>
              <a:off x="6569757" y="2636930"/>
              <a:ext cx="3503861" cy="0"/>
            </a:xfrm>
            <a:prstGeom prst="line">
              <a:avLst/>
            </a:prstGeom>
            <a:ln>
              <a:solidFill>
                <a:srgbClr val="AA8FC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2" name="Rechte verbindingslijn 31">
              <a:extLst>
                <a:ext uri="{FF2B5EF4-FFF2-40B4-BE49-F238E27FC236}">
                  <a16:creationId xmlns:a16="http://schemas.microsoft.com/office/drawing/2014/main" id="{ACB52FD4-9F38-2574-D27D-86BF2BF09974}"/>
                </a:ext>
              </a:extLst>
            </p:cNvPr>
            <p:cNvCxnSpPr>
              <a:cxnSpLocks/>
            </p:cNvCxnSpPr>
            <p:nvPr/>
          </p:nvCxnSpPr>
          <p:spPr>
            <a:xfrm>
              <a:off x="6569757" y="3977118"/>
              <a:ext cx="3503861" cy="0"/>
            </a:xfrm>
            <a:prstGeom prst="line">
              <a:avLst/>
            </a:prstGeom>
            <a:ln>
              <a:solidFill>
                <a:srgbClr val="AA8FC2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Tekstvak 32">
              <a:extLst>
                <a:ext uri="{FF2B5EF4-FFF2-40B4-BE49-F238E27FC236}">
                  <a16:creationId xmlns:a16="http://schemas.microsoft.com/office/drawing/2014/main" id="{E1763D45-611E-AD0D-C121-AE05B5719ACA}"/>
                </a:ext>
              </a:extLst>
            </p:cNvPr>
            <p:cNvSpPr txBox="1"/>
            <p:nvPr/>
          </p:nvSpPr>
          <p:spPr>
            <a:xfrm>
              <a:off x="6577530" y="2788330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b="1" dirty="0">
                  <a:latin typeface="Montserrat" panose="00000500000000000000" pitchFamily="2" charset="0"/>
                  <a:cs typeface="Arial" panose="020B0604020202020204" pitchFamily="34" charset="0"/>
                </a:rPr>
                <a:t>2 jaar</a:t>
              </a:r>
            </a:p>
          </p:txBody>
        </p:sp>
        <p:sp>
          <p:nvSpPr>
            <p:cNvPr id="34" name="Tekstvak 33">
              <a:extLst>
                <a:ext uri="{FF2B5EF4-FFF2-40B4-BE49-F238E27FC236}">
                  <a16:creationId xmlns:a16="http://schemas.microsoft.com/office/drawing/2014/main" id="{6F0369AC-BF4B-E454-9EE4-A5804726AA12}"/>
                </a:ext>
              </a:extLst>
            </p:cNvPr>
            <p:cNvSpPr txBox="1"/>
            <p:nvPr/>
          </p:nvSpPr>
          <p:spPr>
            <a:xfrm>
              <a:off x="9118306" y="2788330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b="1" dirty="0">
                  <a:latin typeface="Montserrat" panose="00000500000000000000" pitchFamily="2" charset="0"/>
                  <a:cs typeface="Arial" panose="020B0604020202020204" pitchFamily="34" charset="0"/>
                </a:rPr>
                <a:t>4 jaar</a:t>
              </a:r>
            </a:p>
          </p:txBody>
        </p:sp>
        <p:sp>
          <p:nvSpPr>
            <p:cNvPr id="35" name="Tekstvak 34">
              <a:extLst>
                <a:ext uri="{FF2B5EF4-FFF2-40B4-BE49-F238E27FC236}">
                  <a16:creationId xmlns:a16="http://schemas.microsoft.com/office/drawing/2014/main" id="{E05AA4D8-CBE2-DCF3-D9DE-B94C4CFE1DC1}"/>
                </a:ext>
              </a:extLst>
            </p:cNvPr>
            <p:cNvSpPr txBox="1"/>
            <p:nvPr/>
          </p:nvSpPr>
          <p:spPr>
            <a:xfrm>
              <a:off x="7840938" y="2788330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b="1" dirty="0">
                  <a:latin typeface="Montserrat" panose="00000500000000000000" pitchFamily="2" charset="0"/>
                  <a:cs typeface="Arial" panose="020B0604020202020204" pitchFamily="34" charset="0"/>
                </a:rPr>
                <a:t>3 jaar</a:t>
              </a:r>
            </a:p>
          </p:txBody>
        </p:sp>
        <p:sp>
          <p:nvSpPr>
            <p:cNvPr id="36" name="Tekstvak 35">
              <a:extLst>
                <a:ext uri="{FF2B5EF4-FFF2-40B4-BE49-F238E27FC236}">
                  <a16:creationId xmlns:a16="http://schemas.microsoft.com/office/drawing/2014/main" id="{0792DCBE-0940-EFB4-4063-B88F06201D24}"/>
                </a:ext>
              </a:extLst>
            </p:cNvPr>
            <p:cNvSpPr txBox="1"/>
            <p:nvPr/>
          </p:nvSpPr>
          <p:spPr>
            <a:xfrm>
              <a:off x="6577530" y="3325802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dirty="0">
                  <a:latin typeface="Montserrat" panose="00000500000000000000" pitchFamily="2" charset="0"/>
                  <a:cs typeface="Arial" panose="020B0604020202020204" pitchFamily="34" charset="0"/>
                </a:rPr>
                <a:t>€69,-</a:t>
              </a:r>
            </a:p>
          </p:txBody>
        </p:sp>
        <p:sp>
          <p:nvSpPr>
            <p:cNvPr id="37" name="Tekstvak 36">
              <a:extLst>
                <a:ext uri="{FF2B5EF4-FFF2-40B4-BE49-F238E27FC236}">
                  <a16:creationId xmlns:a16="http://schemas.microsoft.com/office/drawing/2014/main" id="{776A9736-CDE2-42C5-3E7D-68BE749578DC}"/>
                </a:ext>
              </a:extLst>
            </p:cNvPr>
            <p:cNvSpPr txBox="1"/>
            <p:nvPr/>
          </p:nvSpPr>
          <p:spPr>
            <a:xfrm>
              <a:off x="9118306" y="3325802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dirty="0">
                  <a:latin typeface="Montserrat" panose="00000500000000000000" pitchFamily="2" charset="0"/>
                  <a:cs typeface="Arial" panose="020B0604020202020204" pitchFamily="34" charset="0"/>
                </a:rPr>
                <a:t>€199,-</a:t>
              </a:r>
            </a:p>
          </p:txBody>
        </p:sp>
        <p:sp>
          <p:nvSpPr>
            <p:cNvPr id="38" name="Tekstvak 37">
              <a:extLst>
                <a:ext uri="{FF2B5EF4-FFF2-40B4-BE49-F238E27FC236}">
                  <a16:creationId xmlns:a16="http://schemas.microsoft.com/office/drawing/2014/main" id="{564C3FF5-9B5A-3D5C-7B4E-B504132A4AA0}"/>
                </a:ext>
              </a:extLst>
            </p:cNvPr>
            <p:cNvSpPr txBox="1"/>
            <p:nvPr/>
          </p:nvSpPr>
          <p:spPr>
            <a:xfrm>
              <a:off x="7840938" y="3325802"/>
              <a:ext cx="966079" cy="433553"/>
            </a:xfrm>
            <a:prstGeom prst="rect">
              <a:avLst/>
            </a:prstGeom>
            <a:solidFill>
              <a:schemeClr val="bg1"/>
            </a:solidFill>
            <a:ln>
              <a:solidFill>
                <a:srgbClr val="ED8F0D"/>
              </a:solidFill>
            </a:ln>
          </p:spPr>
          <p:txBody>
            <a:bodyPr wrap="square" tIns="108000" bIns="108000" rtlCol="0">
              <a:spAutoFit/>
            </a:bodyPr>
            <a:lstStyle/>
            <a:p>
              <a:pPr algn="ctr"/>
              <a:r>
                <a:rPr lang="nl-NL" sz="1400" dirty="0">
                  <a:latin typeface="Montserrat" panose="00000500000000000000" pitchFamily="2" charset="0"/>
                  <a:cs typeface="Arial" panose="020B0604020202020204" pitchFamily="34" charset="0"/>
                </a:rPr>
                <a:t>€119,-</a:t>
              </a:r>
            </a:p>
          </p:txBody>
        </p:sp>
        <p:pic>
          <p:nvPicPr>
            <p:cNvPr id="42" name="Graphic 41">
              <a:extLst>
                <a:ext uri="{FF2B5EF4-FFF2-40B4-BE49-F238E27FC236}">
                  <a16:creationId xmlns:a16="http://schemas.microsoft.com/office/drawing/2014/main" id="{A9E3E374-F0EE-EC66-D162-CB2D4FFD285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8078264" y="1912488"/>
              <a:ext cx="494101" cy="336887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3376106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mc:AlternateContent xmlns:mc="http://schemas.openxmlformats.org/markup-compatibility/2006" xmlns:p14="http://schemas.microsoft.com/office/powerpoint/2010/main">
    <mc:Choice Requires="p14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after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7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8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2" fill="hold" nodeType="clickEffect" p14:presetBounceEnd="50000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 p14:bounceEnd="50000">
                                          <p:cBhvr additive="base">
                                            <p:cTn id="13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 p14:bounceEnd="50000">
                                          <p:cBhvr additive="base">
                                            <p:cTn id="14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9" grpId="0"/>
        </p:bldLst>
      </p:timing>
    </mc:Choice>
    <mc:Fallback xmlns="">
      <p:timing>
        <p:tnLst>
          <p:par>
            <p:cTn id="1" dur="indefinite" restart="never" nodeType="tmRoot">
              <p:childTnLst>
                <p:seq concurrent="1" nextAc="seek">
                  <p:cTn id="2" dur="indefinite" nodeType="mainSeq">
                    <p:childTnLst>
                      <p:par>
                        <p:cTn id="3" fill="hold">
                          <p:stCondLst>
                            <p:cond delay="indefinite"/>
                            <p:cond evt="onBegin" delay="0">
                              <p:tn val="2"/>
                            </p:cond>
                          </p:stCondLst>
                          <p:childTnLst>
                            <p:par>
                              <p:cTn id="4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5" presetID="2" presetClass="entr" presetSubtype="8" fill="hold" nodeType="after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7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0-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8" dur="500" fill="hold"/>
                                            <p:tgtEl>
                                              <p:spTgt spid="48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  <p:par>
                        <p:cTn id="9" fill="hold">
                          <p:stCondLst>
                            <p:cond delay="indefinite"/>
                          </p:stCondLst>
                          <p:childTnLst>
                            <p:par>
                              <p:cTn id="10" fill="hold">
                                <p:stCondLst>
                                  <p:cond delay="0"/>
                                </p:stCondLst>
                                <p:childTnLst>
                                  <p:par>
                                    <p:cTn id="11" presetID="2" presetClass="entr" presetSubtype="2" fill="hold" nodeType="click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2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 calcmode="lin" valueType="num">
                                          <p:cBhvr additive="base">
                                            <p:cTn id="13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x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1+#ppt_w/2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x"/>
                                              </p:val>
                                            </p:tav>
                                          </p:tavLst>
                                        </p:anim>
                                        <p:anim calcmode="lin" valueType="num">
                                          <p:cBhvr additive="base">
                                            <p:cTn id="14" dur="500" fill="hold"/>
                                            <p:tgtEl>
                                              <p:spTgt spid="49"/>
                                            </p:tgtEl>
                                            <p:attrNameLst>
                                              <p:attrName>ppt_y</p:attrName>
                                            </p:attrNameLst>
                                          </p:cBhvr>
                                          <p:tavLst>
                                            <p:tav tm="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  <p:tav tm="100000">
                                              <p:val>
                                                <p:strVal val="#ppt_y"/>
                                              </p:val>
                                            </p:tav>
                                          </p:tavLst>
                                        </p:anim>
                                      </p:childTnLst>
                                    </p:cTn>
                                  </p:par>
                                  <p:par>
                                    <p:cTn id="15" presetID="10" presetClass="entr" presetSubtype="0" fill="hold" grpId="0" nodeType="withEffect">
                                      <p:stCondLst>
                                        <p:cond delay="0"/>
                                      </p:stCondLst>
                                      <p:childTnLst>
                                        <p:set>
                                          <p:cBhvr>
                                            <p:cTn id="16" dur="1" fill="hold">
                                              <p:stCondLst>
                                                <p:cond delay="0"/>
                                              </p:stCondLst>
                                            </p:cTn>
                                            <p:tgtEl>
                                              <p:spTgt spid="39"/>
                                            </p:tgtEl>
                                            <p:attrNameLst>
                                              <p:attrName>style.visibility</p:attrName>
                                            </p:attrNameLst>
                                          </p:cBhvr>
                                          <p:to>
                                            <p:strVal val="visible"/>
                                          </p:to>
                                        </p:set>
                                        <p:animEffect transition="in" filter="fade">
                                          <p:cBhvr>
                                            <p:cTn id="17" dur="500"/>
                                            <p:tgtEl>
                                              <p:spTgt spid="39"/>
                                            </p:tgtEl>
                                          </p:cBhvr>
                                        </p:animEffect>
                                      </p:childTnLst>
                                    </p:cTn>
                                  </p:par>
                                </p:childTnLst>
                              </p:cTn>
                            </p:par>
                          </p:childTnLst>
                        </p:cTn>
                      </p:par>
                    </p:childTnLst>
                  </p:cTn>
                  <p:prevCondLst>
                    <p:cond evt="onPrev" delay="0">
                      <p:tgtEl>
                        <p:sldTgt/>
                      </p:tgtEl>
                    </p:cond>
                  </p:prevCondLst>
                  <p:nextCondLst>
                    <p:cond evt="onNext" delay="0">
                      <p:tgtEl>
                        <p:sldTgt/>
                      </p:tgtEl>
                    </p:cond>
                  </p:nextCondLst>
                </p:seq>
              </p:childTnLst>
            </p:cTn>
          </p:par>
        </p:tnLst>
        <p:bldLst>
          <p:bldP spid="39" grpId="0"/>
        </p:bldLst>
      </p:timing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1DB89FB3-6207-15F7-F084-627F2009EE47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b="1" dirty="0">
                <a:latin typeface="Montserrat" panose="00000500000000000000" pitchFamily="2" charset="0"/>
              </a:rPr>
              <a:t>Voordelen met Studywise</a:t>
            </a:r>
          </a:p>
        </p:txBody>
      </p:sp>
      <p:sp>
        <p:nvSpPr>
          <p:cNvPr id="9" name="Tijdelijke aanduiding voor tekst 4">
            <a:extLst>
              <a:ext uri="{FF2B5EF4-FFF2-40B4-BE49-F238E27FC236}">
                <a16:creationId xmlns:a16="http://schemas.microsoft.com/office/drawing/2014/main" id="{1D21E461-672D-41D3-DB84-A027E0520046}"/>
              </a:ext>
            </a:extLst>
          </p:cNvPr>
          <p:cNvSpPr txBox="1">
            <a:spLocks/>
          </p:cNvSpPr>
          <p:nvPr/>
        </p:nvSpPr>
        <p:spPr>
          <a:xfrm>
            <a:off x="622142" y="1559481"/>
            <a:ext cx="6560627" cy="341632"/>
          </a:xfrm>
          <a:prstGeom prst="rect">
            <a:avLst/>
          </a:prstGeom>
        </p:spPr>
        <p:txBody>
          <a:bodyPr vert="horz" wrap="square" lIns="91440" tIns="45720" rIns="91440" bIns="45720" rtlCol="0">
            <a:spAutoFit/>
          </a:bodyPr>
          <a:lstStyle>
            <a:lvl1pPr marL="266700" indent="-260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76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Bef>
                <a:spcPts val="1000"/>
              </a:spcBef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nl-NL" dirty="0"/>
              <a:t>Een jungle aan laptops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6B0F387-23BC-1E1F-6C36-B9E86A7DFD0A}"/>
              </a:ext>
            </a:extLst>
          </p:cNvPr>
          <p:cNvSpPr txBox="1"/>
          <p:nvPr/>
        </p:nvSpPr>
        <p:spPr>
          <a:xfrm>
            <a:off x="11051682" y="1531781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b="0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en keuzestress. We hebben de laptops afgestemd met de onderwijsinstelling</a:t>
            </a:r>
          </a:p>
        </p:txBody>
      </p:sp>
      <p:sp>
        <p:nvSpPr>
          <p:cNvPr id="3" name="Tijdelijke aanduiding voor tekst 4">
            <a:extLst>
              <a:ext uri="{FF2B5EF4-FFF2-40B4-BE49-F238E27FC236}">
                <a16:creationId xmlns:a16="http://schemas.microsoft.com/office/drawing/2014/main" id="{8B278F9D-9390-46B0-2A79-46DD109C8CC1}"/>
              </a:ext>
            </a:extLst>
          </p:cNvPr>
          <p:cNvSpPr txBox="1">
            <a:spLocks/>
          </p:cNvSpPr>
          <p:nvPr/>
        </p:nvSpPr>
        <p:spPr>
          <a:xfrm>
            <a:off x="622143" y="1954688"/>
            <a:ext cx="6515266" cy="34163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66700" indent="-260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76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Bef>
                <a:spcPts val="1000"/>
              </a:spcBef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nl-NL" dirty="0"/>
              <a:t>Welke laptop past bij mijn studie?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B822F89-6834-D9F7-10AE-7E2D2E699035}"/>
              </a:ext>
            </a:extLst>
          </p:cNvPr>
          <p:cNvSpPr txBox="1"/>
          <p:nvPr/>
        </p:nvSpPr>
        <p:spPr>
          <a:xfrm>
            <a:off x="11051682" y="1926988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ijd een geschikte laptop voor de studie</a:t>
            </a:r>
          </a:p>
        </p:txBody>
      </p:sp>
      <p:sp>
        <p:nvSpPr>
          <p:cNvPr id="6" name="Tijdelijke aanduiding voor tekst 4">
            <a:extLst>
              <a:ext uri="{FF2B5EF4-FFF2-40B4-BE49-F238E27FC236}">
                <a16:creationId xmlns:a16="http://schemas.microsoft.com/office/drawing/2014/main" id="{CC505E5B-0678-BAEE-9F29-8B6EBCBE3CC7}"/>
              </a:ext>
            </a:extLst>
          </p:cNvPr>
          <p:cNvSpPr txBox="1">
            <a:spLocks/>
          </p:cNvSpPr>
          <p:nvPr/>
        </p:nvSpPr>
        <p:spPr>
          <a:xfrm>
            <a:off x="622143" y="2358156"/>
            <a:ext cx="6515266" cy="34163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66700" indent="-260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76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Bef>
                <a:spcPts val="1000"/>
              </a:spcBef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nl-NL" dirty="0"/>
              <a:t>Geen service bij probleme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DB81824-B9A3-D696-9ADC-82E05E996812}"/>
              </a:ext>
            </a:extLst>
          </p:cNvPr>
          <p:cNvSpPr txBox="1"/>
          <p:nvPr/>
        </p:nvSpPr>
        <p:spPr>
          <a:xfrm>
            <a:off x="11051682" y="2330456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ak of Gemak en Zekerheid servicepakketten</a:t>
            </a:r>
          </a:p>
        </p:txBody>
      </p:sp>
      <p:sp>
        <p:nvSpPr>
          <p:cNvPr id="8" name="Tijdelijke aanduiding voor tekst 4">
            <a:extLst>
              <a:ext uri="{FF2B5EF4-FFF2-40B4-BE49-F238E27FC236}">
                <a16:creationId xmlns:a16="http://schemas.microsoft.com/office/drawing/2014/main" id="{C392A982-AE1C-AFD5-4D6B-4C2958C45706}"/>
              </a:ext>
            </a:extLst>
          </p:cNvPr>
          <p:cNvSpPr txBox="1">
            <a:spLocks/>
          </p:cNvSpPr>
          <p:nvPr/>
        </p:nvSpPr>
        <p:spPr>
          <a:xfrm>
            <a:off x="622143" y="2753363"/>
            <a:ext cx="6515266" cy="34163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66700" indent="-260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76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Bef>
                <a:spcPts val="1000"/>
              </a:spcBef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nl-NL" dirty="0"/>
              <a:t>Laptop stuk? Geen digitaal onderwijs…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1C05D6F-8889-0AE3-1507-E96DB2FA1801}"/>
              </a:ext>
            </a:extLst>
          </p:cNvPr>
          <p:cNvSpPr txBox="1"/>
          <p:nvPr/>
        </p:nvSpPr>
        <p:spPr>
          <a:xfrm>
            <a:off x="11051682" y="2725663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enlaptop tijdens reparatie</a:t>
            </a:r>
          </a:p>
        </p:txBody>
      </p:sp>
      <p:sp>
        <p:nvSpPr>
          <p:cNvPr id="11" name="Tijdelijke aanduiding voor tekst 4">
            <a:extLst>
              <a:ext uri="{FF2B5EF4-FFF2-40B4-BE49-F238E27FC236}">
                <a16:creationId xmlns:a16="http://schemas.microsoft.com/office/drawing/2014/main" id="{47711A76-081A-7F3E-D377-0E86A617344A}"/>
              </a:ext>
            </a:extLst>
          </p:cNvPr>
          <p:cNvSpPr txBox="1">
            <a:spLocks/>
          </p:cNvSpPr>
          <p:nvPr/>
        </p:nvSpPr>
        <p:spPr>
          <a:xfrm>
            <a:off x="622143" y="3148570"/>
            <a:ext cx="6515266" cy="34163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66700" indent="-260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76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Bef>
                <a:spcPts val="1000"/>
              </a:spcBef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nl-NL" dirty="0"/>
              <a:t>Overweldigd door regelwerk rondom opleiding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462014-C19A-0481-C9D7-5D7613994CE0}"/>
              </a:ext>
            </a:extLst>
          </p:cNvPr>
          <p:cNvSpPr txBox="1"/>
          <p:nvPr/>
        </p:nvSpPr>
        <p:spPr>
          <a:xfrm>
            <a:off x="11051682" y="3120870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adloze overgang van voortgezet onderwijs naar vervolgonderwijs</a:t>
            </a:r>
          </a:p>
        </p:txBody>
      </p:sp>
      <p:sp>
        <p:nvSpPr>
          <p:cNvPr id="13" name="Tijdelijke aanduiding voor tekst 4">
            <a:extLst>
              <a:ext uri="{FF2B5EF4-FFF2-40B4-BE49-F238E27FC236}">
                <a16:creationId xmlns:a16="http://schemas.microsoft.com/office/drawing/2014/main" id="{F9DA46B8-97EE-291C-13EF-714D1CEF5CE0}"/>
              </a:ext>
            </a:extLst>
          </p:cNvPr>
          <p:cNvSpPr txBox="1">
            <a:spLocks/>
          </p:cNvSpPr>
          <p:nvPr/>
        </p:nvSpPr>
        <p:spPr>
          <a:xfrm>
            <a:off x="622143" y="3543776"/>
            <a:ext cx="6515266" cy="34163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66700" indent="-260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76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Bef>
                <a:spcPts val="1000"/>
              </a:spcBef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nl-NL" dirty="0"/>
              <a:t>Software? Zelf uitzoeken!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60B5307-CEA4-A63D-CB38-1C5FC591C9FF}"/>
              </a:ext>
            </a:extLst>
          </p:cNvPr>
          <p:cNvSpPr txBox="1"/>
          <p:nvPr/>
        </p:nvSpPr>
        <p:spPr>
          <a:xfrm>
            <a:off x="11051682" y="3516076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ware vooraf geïnstalleerd </a:t>
            </a:r>
          </a:p>
        </p:txBody>
      </p:sp>
      <p:sp>
        <p:nvSpPr>
          <p:cNvPr id="15" name="Tijdelijke aanduiding voor tekst 4">
            <a:extLst>
              <a:ext uri="{FF2B5EF4-FFF2-40B4-BE49-F238E27FC236}">
                <a16:creationId xmlns:a16="http://schemas.microsoft.com/office/drawing/2014/main" id="{86E3E881-CAB9-C5C0-71C9-A34DF160B489}"/>
              </a:ext>
            </a:extLst>
          </p:cNvPr>
          <p:cNvSpPr txBox="1">
            <a:spLocks/>
          </p:cNvSpPr>
          <p:nvPr/>
        </p:nvSpPr>
        <p:spPr>
          <a:xfrm>
            <a:off x="622143" y="3938982"/>
            <a:ext cx="6515266" cy="34163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66700" indent="-260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76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Bef>
                <a:spcPts val="1000"/>
              </a:spcBef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nl-NL" dirty="0"/>
              <a:t>Hoge kosten in één keer betalen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BB8D8AA-5F89-D119-9F4D-FF1CEA5A8FBF}"/>
              </a:ext>
            </a:extLst>
          </p:cNvPr>
          <p:cNvSpPr txBox="1"/>
          <p:nvPr/>
        </p:nvSpPr>
        <p:spPr>
          <a:xfrm>
            <a:off x="11051682" y="3911282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gelijkheid tussen kopen of huren tegen aantrekkelijke prijzen</a:t>
            </a:r>
          </a:p>
        </p:txBody>
      </p:sp>
      <p:sp>
        <p:nvSpPr>
          <p:cNvPr id="17" name="Tijdelijke aanduiding voor tekst 4">
            <a:extLst>
              <a:ext uri="{FF2B5EF4-FFF2-40B4-BE49-F238E27FC236}">
                <a16:creationId xmlns:a16="http://schemas.microsoft.com/office/drawing/2014/main" id="{8A659925-CB91-8C60-BA04-D57F12C33712}"/>
              </a:ext>
            </a:extLst>
          </p:cNvPr>
          <p:cNvSpPr txBox="1">
            <a:spLocks/>
          </p:cNvSpPr>
          <p:nvPr/>
        </p:nvSpPr>
        <p:spPr>
          <a:xfrm>
            <a:off x="622143" y="4334189"/>
            <a:ext cx="6515266" cy="341632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>
            <a:lvl1pPr marL="266700" indent="-26035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 Black" panose="020B0604020202020204" pitchFamily="34" charset="0"/>
                <a:ea typeface="+mn-ea"/>
                <a:cs typeface="Arial Black" panose="020B0604020202020204" pitchFamily="34" charset="0"/>
              </a:defRPr>
            </a:lvl1pPr>
            <a:lvl2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1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266700" indent="-2603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Tx/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447675" indent="-180975" algn="l" defTabSz="914400" rtl="0" eaLnBrk="1" latinLnBrk="0" hangingPunct="1">
              <a:lnSpc>
                <a:spcPct val="90000"/>
              </a:lnSpc>
              <a:spcBef>
                <a:spcPts val="500"/>
              </a:spcBef>
              <a:buClr>
                <a:srgbClr val="AA8FC2"/>
              </a:buClr>
              <a:buFont typeface="Arial" panose="020B0604020202020204" pitchFamily="34" charset="0"/>
              <a:buChar char="•"/>
              <a:tabLst/>
              <a:defRPr sz="1800" b="0" i="0" kern="1200">
                <a:solidFill>
                  <a:srgbClr val="102F44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3">
              <a:spcBef>
                <a:spcPts val="1000"/>
              </a:spcBef>
              <a:buBlip>
                <a:blip r:embed="rId5">
                  <a:extLst>
                    <a:ext uri="{96DAC541-7B7A-43D3-8B79-37D633B846F1}">
                      <asvg:svgBlip xmlns:asvg="http://schemas.microsoft.com/office/drawing/2016/SVG/main" r:embed="rId6"/>
                    </a:ext>
                  </a:extLst>
                </a:blip>
              </a:buBlip>
            </a:pPr>
            <a:r>
              <a:rPr lang="nl-NL" dirty="0"/>
              <a:t>Help, waar moet ik naartoe?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A359A84-C7D7-B57F-AD95-8DE18818C1C5}"/>
              </a:ext>
            </a:extLst>
          </p:cNvPr>
          <p:cNvSpPr txBox="1"/>
          <p:nvPr/>
        </p:nvSpPr>
        <p:spPr>
          <a:xfrm>
            <a:off x="11051682" y="4306489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ntenservice bij vragen 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0F68C6B-76FE-DFDD-A73C-8AA78B78964D}"/>
              </a:ext>
            </a:extLst>
          </p:cNvPr>
          <p:cNvSpPr txBox="1"/>
          <p:nvPr/>
        </p:nvSpPr>
        <p:spPr>
          <a:xfrm>
            <a:off x="11051682" y="4701696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tis verzending naar ieder thuisadres in Nederland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950673A-6AF9-64AA-0FE8-C7529B595D2C}"/>
              </a:ext>
            </a:extLst>
          </p:cNvPr>
          <p:cNvSpPr txBox="1"/>
          <p:nvPr/>
        </p:nvSpPr>
        <p:spPr>
          <a:xfrm>
            <a:off x="11051682" y="5096903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tis haal- en brengservice op het thuisadres bij defecte laptop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73FC5B37-E88F-CE57-99C7-E4E8BA01F126}"/>
              </a:ext>
            </a:extLst>
          </p:cNvPr>
          <p:cNvSpPr/>
          <p:nvPr/>
        </p:nvSpPr>
        <p:spPr>
          <a:xfrm>
            <a:off x="8640306" y="1341996"/>
            <a:ext cx="3551694" cy="4289129"/>
          </a:xfrm>
          <a:prstGeom prst="rect">
            <a:avLst/>
          </a:prstGeom>
          <a:gradFill>
            <a:gsLst>
              <a:gs pos="64000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8097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3224 -1.48148E-6 L -0.85573 -1.48148E-6 " pathEditMode="relative" rAng="0" ptsTypes="AA">
                                      <p:cBhvr>
                                        <p:cTn id="6" dur="1500" fill="hold"/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26667" y="0"/>
                                    </p:animMotion>
                                  </p:childTnLst>
                                </p:cTn>
                              </p:par>
                              <p:par>
                                <p:cTn id="7" presetID="2" presetClass="exit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8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9" dur="1000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0.00247 -0.00185 L -0.85456 0.00116 " pathEditMode="relative" rAng="0" ptsTypes="AA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852" y="139"/>
                                    </p:animMotion>
                                  </p:childTnLst>
                                </p:cTn>
                              </p:par>
                              <p:par>
                                <p:cTn id="15" presetID="2" presetClass="exit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16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3.33333E-6 L -0.85469 0.00139 " pathEditMode="relative" rAng="0" ptsTypes="AA">
                                      <p:cBhvr>
                                        <p:cTn id="22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734" y="69"/>
                                    </p:animMotion>
                                  </p:childTnLst>
                                </p:cTn>
                              </p:par>
                              <p:par>
                                <p:cTn id="23" presetID="2" presetClass="exit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24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5" dur="1000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4.44444E-6 L -0.85391 0.00138 " pathEditMode="relative" rAng="0" ptsTypes="AA">
                                      <p:cBhvr>
                                        <p:cTn id="30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695" y="69"/>
                                    </p:animMotion>
                                  </p:childTnLst>
                                </p:cTn>
                              </p:par>
                              <p:par>
                                <p:cTn id="31" presetID="2" presetClass="exit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32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3" dur="1000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4.44444E-6 L -0.8543 0.00139 " pathEditMode="relative" rAng="0" ptsTypes="AA">
                                      <p:cBhvr>
                                        <p:cTn id="38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721" y="69"/>
                                    </p:animMotion>
                                  </p:childTnLst>
                                </p:cTn>
                              </p:par>
                              <p:par>
                                <p:cTn id="39" presetID="2" presetClass="exit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0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1000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3.33333E-6 L -0.85469 0.00047 " pathEditMode="relative" rAng="0" ptsTypes="AA">
                                      <p:cBhvr>
                                        <p:cTn id="46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734" y="23"/>
                                    </p:animMotion>
                                  </p:childTnLst>
                                </p:cTn>
                              </p:par>
                              <p:par>
                                <p:cTn id="47" presetID="2" presetClass="exit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8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1000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1" fill="hold">
                      <p:stCondLst>
                        <p:cond delay="indefinite"/>
                      </p:stCondLst>
                      <p:childTnLst>
                        <p:par>
                          <p:cTn id="52" fill="hold">
                            <p:stCondLst>
                              <p:cond delay="0"/>
                            </p:stCondLst>
                            <p:childTnLst>
                              <p:par>
                                <p:cTn id="53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2.22222E-6 L -0.85508 -0.00023 " pathEditMode="relative" rAng="0" ptsTypes="AA">
                                      <p:cBhvr>
                                        <p:cTn id="5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760" y="-23"/>
                                    </p:animMotion>
                                  </p:childTnLst>
                                </p:cTn>
                              </p:par>
                              <p:par>
                                <p:cTn id="55" presetID="2" presetClass="exit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56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57" dur="1000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8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9" fill="hold">
                      <p:stCondLst>
                        <p:cond delay="indefinite"/>
                      </p:stCondLst>
                      <p:childTnLst>
                        <p:par>
                          <p:cTn id="60" fill="hold">
                            <p:stCondLst>
                              <p:cond delay="0"/>
                            </p:stCondLst>
                            <p:childTnLst>
                              <p:par>
                                <p:cTn id="61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-1.11111E-6 L -0.8543 0.00046 " pathEditMode="relative" rAng="0" ptsTypes="AA">
                                      <p:cBhvr>
                                        <p:cTn id="62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721" y="23"/>
                                    </p:animMotion>
                                  </p:childTnLst>
                                </p:cTn>
                              </p:par>
                              <p:par>
                                <p:cTn id="63" presetID="2" presetClass="exit" presetSubtype="8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64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0-ppt_w/2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1000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0 L -0.85508 -0.00093 " pathEditMode="relative" rAng="0" ptsTypes="AA">
                                      <p:cBhvr>
                                        <p:cTn id="70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760" y="-46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1" fill="hold">
                      <p:stCondLst>
                        <p:cond delay="indefinite"/>
                      </p:stCondLst>
                      <p:childTnLst>
                        <p:par>
                          <p:cTn id="72" fill="hold">
                            <p:stCondLst>
                              <p:cond delay="0"/>
                            </p:stCondLst>
                            <p:childTnLst>
                              <p:par>
                                <p:cTn id="73" presetID="35" presetClass="path" presetSubtype="0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4.58333E-6 0.00393 L -0.8556 -0.00139 " pathEditMode="relative" rAng="0" ptsTypes="AA">
                                      <p:cBhvr>
                                        <p:cTn id="74" dur="1000" fill="hold"/>
                                        <p:tgtEl>
                                          <p:spTgt spid="2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2786" y="-27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25" grpId="0" animBg="1"/>
      <p:bldP spid="3" grpId="0"/>
      <p:bldP spid="5" grpId="0" animBg="1"/>
      <p:bldP spid="6" grpId="0"/>
      <p:bldP spid="7" grpId="0" animBg="1"/>
      <p:bldP spid="8" grpId="0"/>
      <p:bldP spid="10" grpId="0" animBg="1"/>
      <p:bldP spid="11" grpId="0"/>
      <p:bldP spid="12" grpId="0" animBg="1"/>
      <p:bldP spid="13" grpId="0"/>
      <p:bldP spid="14" grpId="0" animBg="1"/>
      <p:bldP spid="15" grpId="0"/>
      <p:bldP spid="16" grpId="0" animBg="1"/>
      <p:bldP spid="17" grpId="0"/>
      <p:bldP spid="18" grpId="0" animBg="1"/>
      <p:bldP spid="21" grpId="0" animBg="1"/>
      <p:bldP spid="23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>
          <a:extLst>
            <a:ext uri="{FF2B5EF4-FFF2-40B4-BE49-F238E27FC236}">
              <a16:creationId xmlns:a16="http://schemas.microsoft.com/office/drawing/2014/main" id="{E3268A15-B5B6-0BD0-43F1-228FE100ED8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FA213E0B-B23C-2C40-AB0E-4F99B5E06119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l-NL" b="1" dirty="0">
                <a:latin typeface="Montserrat" panose="00000500000000000000" pitchFamily="2" charset="0"/>
              </a:rPr>
              <a:t>Voordelen met Studywise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0D39767A-AA39-91D6-E127-E5513C72C528}"/>
              </a:ext>
            </a:extLst>
          </p:cNvPr>
          <p:cNvSpPr/>
          <p:nvPr/>
        </p:nvSpPr>
        <p:spPr>
          <a:xfrm>
            <a:off x="8640306" y="1341996"/>
            <a:ext cx="3551694" cy="4289129"/>
          </a:xfrm>
          <a:prstGeom prst="rect">
            <a:avLst/>
          </a:prstGeom>
          <a:gradFill>
            <a:gsLst>
              <a:gs pos="64000">
                <a:schemeClr val="bg1"/>
              </a:gs>
              <a:gs pos="0">
                <a:schemeClr val="bg1">
                  <a:alpha val="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extBox 24">
            <a:extLst>
              <a:ext uri="{FF2B5EF4-FFF2-40B4-BE49-F238E27FC236}">
                <a16:creationId xmlns:a16="http://schemas.microsoft.com/office/drawing/2014/main" id="{79719184-00EB-3B4B-3A00-57F5810AD68A}"/>
              </a:ext>
            </a:extLst>
          </p:cNvPr>
          <p:cNvSpPr txBox="1"/>
          <p:nvPr/>
        </p:nvSpPr>
        <p:spPr>
          <a:xfrm>
            <a:off x="781838" y="1581550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b="0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en keuzestress. We hebben de laptops afgestemd met de onderwijsinstelling</a:t>
            </a:r>
          </a:p>
        </p:txBody>
      </p:sp>
      <p:sp>
        <p:nvSpPr>
          <p:cNvPr id="20" name="TextBox 4">
            <a:extLst>
              <a:ext uri="{FF2B5EF4-FFF2-40B4-BE49-F238E27FC236}">
                <a16:creationId xmlns:a16="http://schemas.microsoft.com/office/drawing/2014/main" id="{2CFD50DE-884B-9131-C641-A98AC4C7B46E}"/>
              </a:ext>
            </a:extLst>
          </p:cNvPr>
          <p:cNvSpPr txBox="1"/>
          <p:nvPr/>
        </p:nvSpPr>
        <p:spPr>
          <a:xfrm>
            <a:off x="781838" y="1976757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ijd een geschikte laptop voor de studie</a:t>
            </a:r>
          </a:p>
        </p:txBody>
      </p:sp>
      <p:sp>
        <p:nvSpPr>
          <p:cNvPr id="22" name="TextBox 6">
            <a:extLst>
              <a:ext uri="{FF2B5EF4-FFF2-40B4-BE49-F238E27FC236}">
                <a16:creationId xmlns:a16="http://schemas.microsoft.com/office/drawing/2014/main" id="{481F3E99-6D88-D292-024A-08E212083135}"/>
              </a:ext>
            </a:extLst>
          </p:cNvPr>
          <p:cNvSpPr txBox="1"/>
          <p:nvPr/>
        </p:nvSpPr>
        <p:spPr>
          <a:xfrm>
            <a:off x="781838" y="2380225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mak of Gemak en Zekerheid servicepakketten</a:t>
            </a:r>
          </a:p>
        </p:txBody>
      </p:sp>
      <p:sp>
        <p:nvSpPr>
          <p:cNvPr id="24" name="TextBox 9">
            <a:extLst>
              <a:ext uri="{FF2B5EF4-FFF2-40B4-BE49-F238E27FC236}">
                <a16:creationId xmlns:a16="http://schemas.microsoft.com/office/drawing/2014/main" id="{6FB5949F-CDA6-9FDF-F7BA-158E837800D6}"/>
              </a:ext>
            </a:extLst>
          </p:cNvPr>
          <p:cNvSpPr txBox="1"/>
          <p:nvPr/>
        </p:nvSpPr>
        <p:spPr>
          <a:xfrm>
            <a:off x="781838" y="2775432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enlaptop tijdens reparatie</a:t>
            </a:r>
          </a:p>
        </p:txBody>
      </p:sp>
      <p:sp>
        <p:nvSpPr>
          <p:cNvPr id="26" name="TextBox 11">
            <a:extLst>
              <a:ext uri="{FF2B5EF4-FFF2-40B4-BE49-F238E27FC236}">
                <a16:creationId xmlns:a16="http://schemas.microsoft.com/office/drawing/2014/main" id="{A2DE8F50-F6EA-5345-A2FB-603A549BBAA3}"/>
              </a:ext>
            </a:extLst>
          </p:cNvPr>
          <p:cNvSpPr txBox="1"/>
          <p:nvPr/>
        </p:nvSpPr>
        <p:spPr>
          <a:xfrm>
            <a:off x="781838" y="3170639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adloze overgang van voortgezet onderwijs naar vervolgonderwijs</a:t>
            </a:r>
          </a:p>
        </p:txBody>
      </p:sp>
      <p:sp>
        <p:nvSpPr>
          <p:cNvPr id="27" name="TextBox 13">
            <a:extLst>
              <a:ext uri="{FF2B5EF4-FFF2-40B4-BE49-F238E27FC236}">
                <a16:creationId xmlns:a16="http://schemas.microsoft.com/office/drawing/2014/main" id="{A66903C6-3BCB-706C-D6F0-F8C2E27C5557}"/>
              </a:ext>
            </a:extLst>
          </p:cNvPr>
          <p:cNvSpPr txBox="1"/>
          <p:nvPr/>
        </p:nvSpPr>
        <p:spPr>
          <a:xfrm>
            <a:off x="781838" y="3565845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oftware vooraf geïnstalleerd </a:t>
            </a:r>
          </a:p>
        </p:txBody>
      </p:sp>
      <p:sp>
        <p:nvSpPr>
          <p:cNvPr id="28" name="TextBox 15">
            <a:extLst>
              <a:ext uri="{FF2B5EF4-FFF2-40B4-BE49-F238E27FC236}">
                <a16:creationId xmlns:a16="http://schemas.microsoft.com/office/drawing/2014/main" id="{B5778525-48F6-979D-E29E-F7FFB4BCC03C}"/>
              </a:ext>
            </a:extLst>
          </p:cNvPr>
          <p:cNvSpPr txBox="1"/>
          <p:nvPr/>
        </p:nvSpPr>
        <p:spPr>
          <a:xfrm>
            <a:off x="781838" y="3961051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gelijkheid tussen kopen of huren tegen aantrekkelijke prijzen</a:t>
            </a:r>
          </a:p>
        </p:txBody>
      </p:sp>
      <p:sp>
        <p:nvSpPr>
          <p:cNvPr id="29" name="TextBox 17">
            <a:extLst>
              <a:ext uri="{FF2B5EF4-FFF2-40B4-BE49-F238E27FC236}">
                <a16:creationId xmlns:a16="http://schemas.microsoft.com/office/drawing/2014/main" id="{103EEAD7-3EB1-4119-7DD5-685620DDC0F9}"/>
              </a:ext>
            </a:extLst>
          </p:cNvPr>
          <p:cNvSpPr txBox="1"/>
          <p:nvPr/>
        </p:nvSpPr>
        <p:spPr>
          <a:xfrm>
            <a:off x="781838" y="4356258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lantenservice bij vragen </a:t>
            </a:r>
          </a:p>
        </p:txBody>
      </p:sp>
      <p:sp>
        <p:nvSpPr>
          <p:cNvPr id="30" name="TextBox 20">
            <a:extLst>
              <a:ext uri="{FF2B5EF4-FFF2-40B4-BE49-F238E27FC236}">
                <a16:creationId xmlns:a16="http://schemas.microsoft.com/office/drawing/2014/main" id="{2DC8AB30-C8AC-B18E-970B-C466A2D6CB80}"/>
              </a:ext>
            </a:extLst>
          </p:cNvPr>
          <p:cNvSpPr txBox="1"/>
          <p:nvPr/>
        </p:nvSpPr>
        <p:spPr>
          <a:xfrm>
            <a:off x="781838" y="4751465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tis verzending naar ieder thuisadres in Nederland</a:t>
            </a:r>
          </a:p>
        </p:txBody>
      </p:sp>
      <p:sp>
        <p:nvSpPr>
          <p:cNvPr id="31" name="TextBox 22">
            <a:extLst>
              <a:ext uri="{FF2B5EF4-FFF2-40B4-BE49-F238E27FC236}">
                <a16:creationId xmlns:a16="http://schemas.microsoft.com/office/drawing/2014/main" id="{69131F7E-9E0B-B2E6-B084-1DF4D8B25C32}"/>
              </a:ext>
            </a:extLst>
          </p:cNvPr>
          <p:cNvSpPr txBox="1"/>
          <p:nvPr/>
        </p:nvSpPr>
        <p:spPr>
          <a:xfrm>
            <a:off x="781838" y="5146672"/>
            <a:ext cx="8612447" cy="369332"/>
          </a:xfrm>
          <a:prstGeom prst="rect">
            <a:avLst/>
          </a:prstGeom>
          <a:solidFill>
            <a:srgbClr val="ED8F0D">
              <a:alpha val="10000"/>
            </a:srgbClr>
          </a:solidFill>
        </p:spPr>
        <p:txBody>
          <a:bodyPr wrap="square">
            <a:spAutoFit/>
          </a:bodyPr>
          <a:lstStyle/>
          <a:p>
            <a:pPr marL="285750" indent="-285750">
              <a:buBlip>
                <a:blip r:embed="rId3">
                  <a:extLst>
                    <a:ext uri="{96DAC541-7B7A-43D3-8B79-37D633B846F1}">
                      <asvg:svgBlip xmlns:asvg="http://schemas.microsoft.com/office/drawing/2016/SVG/main" r:embed="rId4"/>
                    </a:ext>
                  </a:extLst>
                </a:blip>
              </a:buBlip>
            </a:pPr>
            <a:r>
              <a:rPr lang="nl-NL" dirty="0">
                <a:solidFill>
                  <a:srgbClr val="102F4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ratis haal- en brengservice op het thuisadres bij defecte laptop</a:t>
            </a:r>
          </a:p>
        </p:txBody>
      </p:sp>
      <p:pic>
        <p:nvPicPr>
          <p:cNvPr id="33" name="Picture 2">
            <a:extLst>
              <a:ext uri="{FF2B5EF4-FFF2-40B4-BE49-F238E27FC236}">
                <a16:creationId xmlns:a16="http://schemas.microsoft.com/office/drawing/2014/main" id="{B0E15A45-F59D-FB93-B14C-20462DF9F4C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37095" y="1148125"/>
            <a:ext cx="4341535" cy="5522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24249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2.xml><?xml version="1.0" encoding="utf-8"?>
<a:theme xmlns:a="http://schemas.openxmlformats.org/drawingml/2006/main" name="The Rent Company">
  <a:themeElements>
    <a:clrScheme name="Aangepast 1">
      <a:dk1>
        <a:sysClr val="windowText" lastClr="000000"/>
      </a:dk1>
      <a:lt1>
        <a:srgbClr val="F4F4F4"/>
      </a:lt1>
      <a:dk2>
        <a:srgbClr val="102F44"/>
      </a:dk2>
      <a:lt2>
        <a:srgbClr val="F4F4F4"/>
      </a:lt2>
      <a:accent1>
        <a:srgbClr val="76B72A"/>
      </a:accent1>
      <a:accent2>
        <a:srgbClr val="82C82E"/>
      </a:accent2>
      <a:accent3>
        <a:srgbClr val="8BD137"/>
      </a:accent3>
      <a:accent4>
        <a:srgbClr val="93D444"/>
      </a:accent4>
      <a:accent5>
        <a:srgbClr val="9DD856"/>
      </a:accent5>
      <a:accent6>
        <a:srgbClr val="A9DD69"/>
      </a:accent6>
      <a:hlink>
        <a:srgbClr val="102F44"/>
      </a:hlink>
      <a:folHlink>
        <a:srgbClr val="102F44"/>
      </a:folHlink>
    </a:clrScheme>
    <a:fontScheme name="Aangepast 1">
      <a:majorFont>
        <a:latin typeface="Montserrat"/>
        <a:ea typeface=""/>
        <a:cs typeface=""/>
      </a:majorFont>
      <a:minorFont>
        <a:latin typeface="Montserrat"/>
        <a:ea typeface=""/>
        <a:cs typeface=""/>
      </a:minorFont>
    </a:fontScheme>
    <a:fmtScheme name="Gestreepte rand">
      <a:fillStyleLst>
        <a:solidFill>
          <a:schemeClr val="phClr"/>
        </a:solidFill>
        <a:solidFill>
          <a:schemeClr val="phClr">
            <a:tint val="50000"/>
          </a:schemeClr>
        </a:solidFill>
        <a:gradFill rotWithShape="1">
          <a:gsLst>
            <a:gs pos="0">
              <a:schemeClr val="phClr"/>
            </a:gs>
            <a:gs pos="90000">
              <a:schemeClr val="phClr">
                <a:shade val="100000"/>
              </a:schemeClr>
            </a:gs>
            <a:gs pos="100000">
              <a:schemeClr val="phClr">
                <a:shade val="85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  <a:ln w="53975" cap="flat" cmpd="dbl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7779" dir="5400000" rotWithShape="0">
              <a:srgbClr val="000000">
                <a:alpha val="4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brightRoom" dir="t"/>
          </a:scene3d>
          <a:sp3d extrusionH="12700" contourW="25400" prstMaterial="flat">
            <a:bevelT w="63500" h="152400" prst="angle"/>
            <a:contourClr>
              <a:schemeClr val="phClr">
                <a:shade val="30000"/>
              </a:schemeClr>
            </a:contourClr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he Rent Company" id="{67007874-0268-495D-A636-7FB41CE886FA}" vid="{F43CC685-16BC-4708-90D5-7EF61240EB5B}"/>
    </a:ext>
  </a:extLst>
</a:theme>
</file>

<file path=ppt/theme/theme3.xml><?xml version="1.0" encoding="utf-8"?>
<a:theme xmlns:a="http://schemas.openxmlformats.org/drawingml/2006/main" name="Kantoorthema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9aa4abd-9cb8-4cf0-a3a0-94798cd40173" xsi:nil="true"/>
    <lcf76f155ced4ddcb4097134ff3c332f xmlns="2ded9ff3-41ff-4564-9a30-de191f814ede">
      <Terms xmlns="http://schemas.microsoft.com/office/infopath/2007/PartnerControls"/>
    </lcf76f155ced4ddcb4097134ff3c332f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BF6DAD195BA1A4BA03DD30B958B9CEF" ma:contentTypeVersion="20" ma:contentTypeDescription="Een nieuw document maken." ma:contentTypeScope="" ma:versionID="46ce039f0d90dd0afe9ccad251f601db">
  <xsd:schema xmlns:xsd="http://www.w3.org/2001/XMLSchema" xmlns:xs="http://www.w3.org/2001/XMLSchema" xmlns:p="http://schemas.microsoft.com/office/2006/metadata/properties" xmlns:ns1="http://schemas.microsoft.com/sharepoint/v3" xmlns:ns2="2ded9ff3-41ff-4564-9a30-de191f814ede" xmlns:ns3="59aa4abd-9cb8-4cf0-a3a0-94798cd40173" targetNamespace="http://schemas.microsoft.com/office/2006/metadata/properties" ma:root="true" ma:fieldsID="511853c10229a4cf78ef2f0605f6b22f" ns1:_="" ns2:_="" ns3:_="">
    <xsd:import namespace="http://schemas.microsoft.com/sharepoint/v3"/>
    <xsd:import namespace="2ded9ff3-41ff-4564-9a30-de191f814ede"/>
    <xsd:import namespace="59aa4abd-9cb8-4cf0-a3a0-94798cd4017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Location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3:SharedWithUsers" minOccurs="0"/>
                <xsd:element ref="ns3:SharedWithDetails" minOccurs="0"/>
                <xsd:element ref="ns1:_ip_UnifiedCompliancePolicyProperties" minOccurs="0"/>
                <xsd:element ref="ns1:_ip_UnifiedCompliancePolicyUIAction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18" nillable="true" ma:displayName="Eigenschappen van het geïntegreerd beleid voor naleving" ma:hidden="true" ma:internalName="_ip_UnifiedCompliancePolicyProperties">
      <xsd:simpleType>
        <xsd:restriction base="dms:Note"/>
      </xsd:simpleType>
    </xsd:element>
    <xsd:element name="_ip_UnifiedCompliancePolicyUIAction" ma:index="19" nillable="true" ma:displayName="Actie van de gebruikersinterface van het geïntegreerd beleid voor naleving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ed9ff3-41ff-4564-9a30-de191f814ed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Location" ma:index="12" nillable="true" ma:displayName="Location" ma:internalName="MediaServiceLocation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2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2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4" nillable="true" ma:taxonomy="true" ma:internalName="lcf76f155ced4ddcb4097134ff3c332f" ma:taxonomyFieldName="MediaServiceImageTags" ma:displayName="Afbeeldingtags" ma:readOnly="false" ma:fieldId="{5cf76f15-5ced-4ddc-b409-7134ff3c332f}" ma:taxonomyMulti="true" ma:sspId="aaf9d803-5476-44dc-96e6-a8ce1b056a00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7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aa4abd-9cb8-4cf0-a3a0-94798cd40173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5" nillable="true" ma:displayName="Taxonomy Catch All Column" ma:hidden="true" ma:list="{cd008d46-2b63-49c0-8265-4df171f44406}" ma:internalName="TaxCatchAll" ma:showField="CatchAllData" ma:web="59aa4abd-9cb8-4cf0-a3a0-94798cd4017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6DBD0FB-2095-46C6-82C5-1E9541702AC5}">
  <ds:schemaRefs>
    <ds:schemaRef ds:uri="http://www.w3.org/XML/1998/namespace"/>
    <ds:schemaRef ds:uri="http://schemas.openxmlformats.org/package/2006/metadata/core-properties"/>
    <ds:schemaRef ds:uri="http://schemas.microsoft.com/office/infopath/2007/PartnerControls"/>
    <ds:schemaRef ds:uri="http://schemas.microsoft.com/office/2006/documentManagement/types"/>
    <ds:schemaRef ds:uri="http://purl.org/dc/dcmitype/"/>
    <ds:schemaRef ds:uri="http://purl.org/dc/elements/1.1/"/>
    <ds:schemaRef ds:uri="http://purl.org/dc/terms/"/>
    <ds:schemaRef ds:uri="http://schemas.microsoft.com/office/2006/metadata/properties"/>
    <ds:schemaRef ds:uri="59aa4abd-9cb8-4cf0-a3a0-94798cd40173"/>
    <ds:schemaRef ds:uri="2ded9ff3-41ff-4564-9a30-de191f814ede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642709F8-944D-443B-AD3B-F14A1D4125C8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00DCEF2-DE40-430D-9A07-AAC2216BD8F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2ded9ff3-41ff-4564-9a30-de191f814ede"/>
    <ds:schemaRef ds:uri="59aa4abd-9cb8-4cf0-a3a0-94798cd4017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539</Words>
  <Application>Microsoft Office PowerPoint</Application>
  <PresentationFormat>Breedbeeld</PresentationFormat>
  <Paragraphs>120</Paragraphs>
  <Slides>11</Slides>
  <Notes>9</Notes>
  <HiddenSlides>1</HiddenSlides>
  <MMClips>0</MMClips>
  <ScaleCrop>false</ScaleCrop>
  <HeadingPairs>
    <vt:vector size="8" baseType="variant">
      <vt:variant>
        <vt:lpstr>Gebruikte lettertypen</vt:lpstr>
      </vt:variant>
      <vt:variant>
        <vt:i4>9</vt:i4>
      </vt:variant>
      <vt:variant>
        <vt:lpstr>Thema</vt:lpstr>
      </vt:variant>
      <vt:variant>
        <vt:i4>2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11</vt:i4>
      </vt:variant>
    </vt:vector>
  </HeadingPairs>
  <TitlesOfParts>
    <vt:vector size="23" baseType="lpstr">
      <vt:lpstr>Aptos</vt:lpstr>
      <vt:lpstr>Arial</vt:lpstr>
      <vt:lpstr>Arial Black</vt:lpstr>
      <vt:lpstr>Lato Light</vt:lpstr>
      <vt:lpstr>Montserrat</vt:lpstr>
      <vt:lpstr>Nunito Sans ExtraLight</vt:lpstr>
      <vt:lpstr>Nunito Sans SemiBold</vt:lpstr>
      <vt:lpstr>Open Sans Light</vt:lpstr>
      <vt:lpstr>Poppins</vt:lpstr>
      <vt:lpstr>Kantoorthema</vt:lpstr>
      <vt:lpstr>The Rent Company</vt:lpstr>
      <vt:lpstr>think-cell Slide</vt:lpstr>
      <vt:lpstr>PowerPoint-presentatie</vt:lpstr>
      <vt:lpstr>PowerPoint-presentatie</vt:lpstr>
      <vt:lpstr>Wij zijn Studywise</vt:lpstr>
      <vt:lpstr>Webshop</vt:lpstr>
      <vt:lpstr>Aanbod laptops: een voorbeeld</vt:lpstr>
      <vt:lpstr>Keuzehulp voor de student</vt:lpstr>
      <vt:lpstr>Servicepakketten</vt:lpstr>
      <vt:lpstr>Voordelen met Studywise</vt:lpstr>
      <vt:lpstr>Voordelen met Studywise</vt:lpstr>
      <vt:lpstr>PowerPoint-presentatie</vt:lpstr>
      <vt:lpstr>PowerPoint-presentatie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Jeroen Keeris</dc:creator>
  <cp:lastModifiedBy>Michiel Janssen</cp:lastModifiedBy>
  <cp:revision>46</cp:revision>
  <dcterms:created xsi:type="dcterms:W3CDTF">2025-03-10T07:59:48Z</dcterms:created>
  <dcterms:modified xsi:type="dcterms:W3CDTF">2025-06-23T09:26:2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BF6DAD195BA1A4BA03DD30B958B9CEF</vt:lpwstr>
  </property>
  <property fmtid="{D5CDD505-2E9C-101B-9397-08002B2CF9AE}" pid="3" name="MediaServiceImageTags">
    <vt:lpwstr/>
  </property>
</Properties>
</file>